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4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5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8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9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0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1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2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3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0" r:id="rId2"/>
    <p:sldMasterId id="2147483699" r:id="rId3"/>
    <p:sldMasterId id="2147483710" r:id="rId4"/>
    <p:sldMasterId id="2147483721" r:id="rId5"/>
    <p:sldMasterId id="2147483732" r:id="rId6"/>
    <p:sldMasterId id="2147483758" r:id="rId7"/>
    <p:sldMasterId id="2147483769" r:id="rId8"/>
    <p:sldMasterId id="2147483793" r:id="rId9"/>
    <p:sldMasterId id="2147483806" r:id="rId10"/>
    <p:sldMasterId id="2147483819" r:id="rId11"/>
    <p:sldMasterId id="2147483854" r:id="rId12"/>
    <p:sldMasterId id="2147483867" r:id="rId13"/>
    <p:sldMasterId id="2147483891" r:id="rId14"/>
  </p:sldMasterIdLst>
  <p:notesMasterIdLst>
    <p:notesMasterId r:id="rId59"/>
  </p:notesMasterIdLst>
  <p:sldIdLst>
    <p:sldId id="256" r:id="rId15"/>
    <p:sldId id="305" r:id="rId16"/>
    <p:sldId id="343" r:id="rId17"/>
    <p:sldId id="289" r:id="rId18"/>
    <p:sldId id="344" r:id="rId19"/>
    <p:sldId id="307" r:id="rId20"/>
    <p:sldId id="345" r:id="rId21"/>
    <p:sldId id="279" r:id="rId22"/>
    <p:sldId id="346" r:id="rId23"/>
    <p:sldId id="308" r:id="rId24"/>
    <p:sldId id="296" r:id="rId25"/>
    <p:sldId id="347" r:id="rId26"/>
    <p:sldId id="348" r:id="rId27"/>
    <p:sldId id="310" r:id="rId28"/>
    <p:sldId id="295" r:id="rId29"/>
    <p:sldId id="349" r:id="rId30"/>
    <p:sldId id="302" r:id="rId31"/>
    <p:sldId id="350" r:id="rId32"/>
    <p:sldId id="351" r:id="rId33"/>
    <p:sldId id="317" r:id="rId34"/>
    <p:sldId id="299" r:id="rId35"/>
    <p:sldId id="324" r:id="rId36"/>
    <p:sldId id="325" r:id="rId37"/>
    <p:sldId id="326" r:id="rId38"/>
    <p:sldId id="327" r:id="rId39"/>
    <p:sldId id="318" r:id="rId40"/>
    <p:sldId id="294" r:id="rId41"/>
    <p:sldId id="320" r:id="rId42"/>
    <p:sldId id="352" r:id="rId43"/>
    <p:sldId id="353" r:id="rId44"/>
    <p:sldId id="354" r:id="rId45"/>
    <p:sldId id="321" r:id="rId46"/>
    <p:sldId id="331" r:id="rId47"/>
    <p:sldId id="332" r:id="rId48"/>
    <p:sldId id="268" r:id="rId49"/>
    <p:sldId id="356" r:id="rId50"/>
    <p:sldId id="355" r:id="rId51"/>
    <p:sldId id="336" r:id="rId52"/>
    <p:sldId id="337" r:id="rId53"/>
    <p:sldId id="338" r:id="rId54"/>
    <p:sldId id="339" r:id="rId55"/>
    <p:sldId id="328" r:id="rId56"/>
    <p:sldId id="329" r:id="rId57"/>
    <p:sldId id="357" r:id="rId58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139" autoAdjust="0"/>
  </p:normalViewPr>
  <p:slideViewPr>
    <p:cSldViewPr>
      <p:cViewPr varScale="1">
        <p:scale>
          <a:sx n="51" d="100"/>
          <a:sy n="51" d="100"/>
        </p:scale>
        <p:origin x="1243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63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61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7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3FAC4C-5E04-4075-B7B1-8E8523DCFA3B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EF881B-AD5C-493E-968A-DC2CAE6685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2658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100" b="0" i="0" u="none" dirty="0" smtClean="0"/>
              <a:t>Если сгруппировать мероприятия, указанные на этом графике,</a:t>
            </a:r>
            <a:r>
              <a:rPr lang="ru-RU" sz="1100" b="0" i="0" u="none" baseline="0" dirty="0" smtClean="0"/>
              <a:t> то </a:t>
            </a:r>
            <a:r>
              <a:rPr lang="ru-RU" sz="1100" b="1" i="0" u="none" baseline="0" dirty="0" smtClean="0"/>
              <a:t>по содержанию работ</a:t>
            </a:r>
            <a:r>
              <a:rPr lang="ru-RU" sz="1100" b="0" i="0" u="none" baseline="0" dirty="0" smtClean="0"/>
              <a:t> можно </a:t>
            </a:r>
            <a:r>
              <a:rPr lang="ru-RU" sz="1100" b="1" i="0" u="none" baseline="0" dirty="0" smtClean="0"/>
              <a:t>условно </a:t>
            </a:r>
            <a:r>
              <a:rPr lang="ru-RU" sz="1100" b="0" i="0" u="none" baseline="0" dirty="0" smtClean="0"/>
              <a:t>выделить </a:t>
            </a:r>
            <a:r>
              <a:rPr lang="ru-RU" sz="1100" b="1" i="0" u="none" baseline="0" dirty="0" smtClean="0"/>
              <a:t>5 этапов.</a:t>
            </a:r>
          </a:p>
          <a:p>
            <a:endParaRPr lang="ru-RU" sz="1100" b="0" i="0" u="none" baseline="0" dirty="0" smtClean="0"/>
          </a:p>
          <a:p>
            <a:r>
              <a:rPr lang="ru-RU" sz="1100" b="1" i="1" u="sng" dirty="0" smtClean="0"/>
              <a:t>Первый этап</a:t>
            </a:r>
            <a:r>
              <a:rPr lang="ru-RU" sz="1100" b="1" i="1" u="none" dirty="0" smtClean="0"/>
              <a:t>  </a:t>
            </a:r>
            <a:r>
              <a:rPr lang="ru-RU" sz="1100" b="0" i="0" u="none" dirty="0" smtClean="0"/>
              <a:t>проекта  закончился. Он </a:t>
            </a:r>
            <a:r>
              <a:rPr lang="ru-RU" sz="1100" dirty="0" smtClean="0"/>
              <a:t>длился </a:t>
            </a:r>
            <a:r>
              <a:rPr lang="ru-RU" sz="1100" b="1" dirty="0" smtClean="0"/>
              <a:t>с мая по август 2019 года</a:t>
            </a:r>
            <a:r>
              <a:rPr lang="ru-RU" sz="1100" b="0" dirty="0" smtClean="0"/>
              <a:t> и </a:t>
            </a:r>
            <a:r>
              <a:rPr lang="ru-RU" sz="1100" dirty="0" smtClean="0"/>
              <a:t>завершился подготовкой </a:t>
            </a:r>
            <a:r>
              <a:rPr lang="ru-RU" sz="1100" b="1" dirty="0" smtClean="0"/>
              <a:t>Отчета</a:t>
            </a:r>
            <a:r>
              <a:rPr lang="ru-RU" sz="1100" dirty="0" smtClean="0"/>
              <a:t> (1) </a:t>
            </a:r>
            <a:r>
              <a:rPr lang="ru-RU" sz="1100" b="1" dirty="0" smtClean="0"/>
              <a:t>о моделях</a:t>
            </a:r>
            <a:r>
              <a:rPr lang="ru-RU" sz="1100" dirty="0" smtClean="0"/>
              <a:t>, которые строились когда-либо в Казахстане и используются в настоящее время, (2) о доступности </a:t>
            </a:r>
            <a:r>
              <a:rPr lang="ru-RU" sz="1100" b="1" dirty="0" smtClean="0"/>
              <a:t>данных</a:t>
            </a:r>
            <a:r>
              <a:rPr lang="ru-RU" sz="1100" dirty="0" smtClean="0"/>
              <a:t>, которые будут необходимы для моделирования, </a:t>
            </a:r>
            <a:r>
              <a:rPr lang="ru-RU" sz="1100" b="1" dirty="0" smtClean="0"/>
              <a:t>и</a:t>
            </a:r>
            <a:r>
              <a:rPr lang="ru-RU" sz="1100" dirty="0" smtClean="0"/>
              <a:t> (3) </a:t>
            </a:r>
            <a:r>
              <a:rPr lang="ru-RU" sz="1100" b="1" dirty="0" smtClean="0"/>
              <a:t>заинтересованных сторонах</a:t>
            </a:r>
            <a:r>
              <a:rPr lang="ru-RU" sz="1100" dirty="0" smtClean="0"/>
              <a:t>. На этом этапе проводился первый </a:t>
            </a:r>
            <a:r>
              <a:rPr lang="ru-RU" sz="1100" b="1" dirty="0" smtClean="0"/>
              <a:t>опрос</a:t>
            </a:r>
            <a:r>
              <a:rPr lang="ru-RU" sz="1100" b="0" dirty="0" smtClean="0"/>
              <a:t>, который </a:t>
            </a:r>
            <a:r>
              <a:rPr lang="ru-RU" sz="1100" b="1" dirty="0" smtClean="0"/>
              <a:t>позволил определить круг заинтересованных сторон для взаимодействия в процессе разработки СНУР , в том числе основных партнеров – бенефициаров проекта. Также были выявлены потребности партнеров проекта </a:t>
            </a:r>
            <a:r>
              <a:rPr lang="ru-RU" sz="1100" dirty="0" smtClean="0"/>
              <a:t>(АО «ИЭИ» и АО «</a:t>
            </a:r>
            <a:r>
              <a:rPr lang="ru-RU" sz="1100" dirty="0" err="1" smtClean="0"/>
              <a:t>Жасыл</a:t>
            </a:r>
            <a:r>
              <a:rPr lang="ru-RU" sz="1100" dirty="0" smtClean="0"/>
              <a:t> даму») </a:t>
            </a:r>
            <a:r>
              <a:rPr lang="ru-RU" sz="1100" b="1" dirty="0" smtClean="0"/>
              <a:t>в усилении потенциала</a:t>
            </a:r>
            <a:r>
              <a:rPr lang="ru-RU" sz="1100" b="0" dirty="0" smtClean="0"/>
              <a:t>.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Благодаря результатам первого этапа, партнеры проекта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 настоящее время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активно вовлечены в разработку СНУР.</a:t>
            </a:r>
            <a:endParaRPr lang="ru-RU" sz="1100" b="0" dirty="0" smtClean="0"/>
          </a:p>
          <a:p>
            <a:endParaRPr lang="ru-RU" sz="1100" dirty="0" smtClean="0"/>
          </a:p>
          <a:p>
            <a:r>
              <a:rPr lang="ru-RU" sz="1100" b="1" i="1" u="sng" dirty="0" smtClean="0"/>
              <a:t>Второй этап </a:t>
            </a:r>
            <a:r>
              <a:rPr lang="ru-RU" sz="1100" dirty="0" smtClean="0"/>
              <a:t>проекта посвящен </a:t>
            </a:r>
            <a:r>
              <a:rPr lang="ru-RU" sz="1100" b="1" dirty="0" smtClean="0"/>
              <a:t>определению</a:t>
            </a:r>
            <a:r>
              <a:rPr lang="ru-RU" sz="1100" dirty="0" smtClean="0"/>
              <a:t> </a:t>
            </a:r>
            <a:r>
              <a:rPr lang="ru-RU" sz="1100" b="1" dirty="0" smtClean="0"/>
              <a:t>СТРАТЕГИЧЕСКОГО </a:t>
            </a:r>
            <a:r>
              <a:rPr lang="ru-RU" sz="1100" b="0" dirty="0" smtClean="0"/>
              <a:t>(политического) </a:t>
            </a:r>
            <a:r>
              <a:rPr lang="ru-RU" sz="1100" b="1" dirty="0" smtClean="0"/>
              <a:t>ВИДЕНИЯ </a:t>
            </a:r>
            <a:r>
              <a:rPr lang="ru-RU" sz="1100" b="0" dirty="0" err="1" smtClean="0"/>
              <a:t>низкоуглеродного</a:t>
            </a:r>
            <a:r>
              <a:rPr lang="ru-RU" sz="1100" b="0" dirty="0" smtClean="0"/>
              <a:t> будущего</a:t>
            </a:r>
            <a:r>
              <a:rPr lang="ru-RU" sz="1100" b="0" baseline="0" dirty="0" smtClean="0"/>
              <a:t> Казахстана</a:t>
            </a:r>
            <a:r>
              <a:rPr lang="ru-RU" sz="1100" b="0" dirty="0" smtClean="0"/>
              <a:t>, приемлемого с точки зрения интересов всех </a:t>
            </a:r>
            <a:r>
              <a:rPr lang="ru-RU" sz="1100" b="0" dirty="0" err="1" smtClean="0"/>
              <a:t>стейкхолдеров</a:t>
            </a:r>
            <a:r>
              <a:rPr lang="ru-RU" sz="1100" b="0" dirty="0" smtClean="0"/>
              <a:t> и согласованного с ними в соответствии с наилучшими международными практиками разработки СНУР. </a:t>
            </a:r>
          </a:p>
          <a:p>
            <a:r>
              <a:rPr lang="ru-RU" sz="1100" b="0" dirty="0" smtClean="0"/>
              <a:t>Второй этап </a:t>
            </a:r>
            <a:r>
              <a:rPr lang="ru-RU" sz="1100" dirty="0" smtClean="0"/>
              <a:t>начался</a:t>
            </a:r>
            <a:r>
              <a:rPr lang="ru-RU" sz="1100" baseline="0" dirty="0" smtClean="0"/>
              <a:t> в сентябре 2019 года с секторальных консультационных встреч со </a:t>
            </a:r>
            <a:r>
              <a:rPr lang="ru-RU" sz="1100" baseline="0" dirty="0" err="1" smtClean="0"/>
              <a:t>стейкхолдерами</a:t>
            </a:r>
            <a:r>
              <a:rPr lang="ru-RU" sz="1100" baseline="0" dirty="0" smtClean="0"/>
              <a:t> и </a:t>
            </a:r>
            <a:r>
              <a:rPr lang="ru-RU" sz="1100" b="1" baseline="0" dirty="0" smtClean="0"/>
              <a:t>должен завершиться к концу апреля 2020 года согласованием ПРЕДПОЛОЖЕНИЙ (описания сценариев)</a:t>
            </a:r>
            <a:r>
              <a:rPr lang="ru-RU" sz="1100" baseline="0" dirty="0" smtClean="0"/>
              <a:t>, которые будут взяты за основу при моделировании различных сценариев развития с тем, чтобы результаты легли в обоснование разрабатываемого СНУР. Следует сказать, что ПРЕДПОЛОЖЕНИЯ повлияют на структуру экономики, которая будет смоделирована для оценки влияния на нее различных факторов развития и </a:t>
            </a:r>
            <a:r>
              <a:rPr lang="ru-RU" sz="1100" baseline="0" dirty="0" err="1" smtClean="0"/>
              <a:t>низкоуглеродных</a:t>
            </a:r>
            <a:r>
              <a:rPr lang="ru-RU" sz="1100" baseline="0" dirty="0" smtClean="0"/>
              <a:t> политик.</a:t>
            </a:r>
          </a:p>
          <a:p>
            <a:r>
              <a:rPr lang="ru-RU" sz="1100" b="1" baseline="0" dirty="0" smtClean="0"/>
              <a:t>13-14 января 2020 года </a:t>
            </a:r>
            <a:r>
              <a:rPr lang="ru-RU" sz="1100" baseline="0" dirty="0" smtClean="0"/>
              <a:t>состоялся Вводный (консультационный) семинар с приездом команды международных консультантов из Германии (</a:t>
            </a:r>
            <a:r>
              <a:rPr lang="en-US" sz="1100" baseline="0" dirty="0" err="1" smtClean="0"/>
              <a:t>DIWEcon</a:t>
            </a:r>
            <a:r>
              <a:rPr lang="en-US" sz="1100" baseline="0" dirty="0" smtClean="0"/>
              <a:t>)</a:t>
            </a:r>
            <a:r>
              <a:rPr lang="ru-RU" sz="1100" baseline="0" dirty="0" smtClean="0"/>
              <a:t>, Италии </a:t>
            </a:r>
            <a:r>
              <a:rPr lang="en-US" sz="1100" baseline="0" dirty="0" smtClean="0"/>
              <a:t>(</a:t>
            </a:r>
            <a:r>
              <a:rPr lang="en-US" sz="1100" dirty="0" smtClean="0">
                <a:ea typeface="Times New Roman"/>
                <a:cs typeface="Times New Roman"/>
              </a:rPr>
              <a:t>E4SMA</a:t>
            </a:r>
            <a:r>
              <a:rPr lang="en-US" sz="1100" baseline="0" dirty="0" smtClean="0"/>
              <a:t>) </a:t>
            </a:r>
            <a:r>
              <a:rPr lang="ru-RU" sz="1100" baseline="0" dirty="0" smtClean="0"/>
              <a:t>и Швейцарии</a:t>
            </a:r>
            <a:r>
              <a:rPr lang="en-US" sz="1100" baseline="0" dirty="0" smtClean="0"/>
              <a:t> (</a:t>
            </a:r>
            <a:r>
              <a:rPr lang="de-DE" sz="1100" dirty="0" err="1" smtClean="0"/>
              <a:t>KnowlEdge</a:t>
            </a:r>
            <a:r>
              <a:rPr lang="en-US" sz="1100" baseline="0" dirty="0" smtClean="0"/>
              <a:t>)</a:t>
            </a:r>
            <a:r>
              <a:rPr lang="ru-RU" sz="1100" baseline="0" dirty="0" smtClean="0"/>
              <a:t>, с активным участием бенефициаров проекта (МЭГПР, </a:t>
            </a:r>
            <a:r>
              <a:rPr lang="ru-RU" sz="1100" dirty="0" smtClean="0"/>
              <a:t>АО «ИЭИ», АО «</a:t>
            </a:r>
            <a:r>
              <a:rPr lang="ru-RU" sz="1100" dirty="0" err="1" smtClean="0"/>
              <a:t>Жасыл</a:t>
            </a:r>
            <a:r>
              <a:rPr lang="ru-RU" sz="1100" dirty="0" smtClean="0"/>
              <a:t> даму»</a:t>
            </a:r>
            <a:r>
              <a:rPr lang="ru-RU" sz="1100" baseline="0" dirty="0" smtClean="0"/>
              <a:t>) и других </a:t>
            </a:r>
            <a:r>
              <a:rPr lang="ru-RU" sz="1100" baseline="0" dirty="0" err="1" smtClean="0"/>
              <a:t>стейкхолдеров</a:t>
            </a:r>
            <a:r>
              <a:rPr lang="ru-RU" sz="1100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aseline="0" dirty="0" smtClean="0"/>
              <a:t>В конце февраля представлен </a:t>
            </a:r>
            <a:r>
              <a:rPr lang="ru-RU" sz="1100" b="1" dirty="0" smtClean="0">
                <a:ea typeface="Times New Roman"/>
                <a:cs typeface="Times New Roman"/>
              </a:rPr>
              <a:t>первый </a:t>
            </a:r>
            <a:r>
              <a:rPr lang="ru-RU" sz="1100" b="1" dirty="0" err="1" smtClean="0">
                <a:ea typeface="Times New Roman"/>
                <a:cs typeface="Times New Roman"/>
              </a:rPr>
              <a:t>драфт</a:t>
            </a:r>
            <a:r>
              <a:rPr lang="ru-RU" sz="1100" b="1" dirty="0" smtClean="0">
                <a:ea typeface="Times New Roman"/>
                <a:cs typeface="Times New Roman"/>
              </a:rPr>
              <a:t> СНУР</a:t>
            </a:r>
            <a:r>
              <a:rPr lang="ru-RU" sz="1100" b="1" baseline="0" dirty="0" smtClean="0">
                <a:ea typeface="Times New Roman"/>
                <a:cs typeface="Times New Roman"/>
              </a:rPr>
              <a:t> </a:t>
            </a:r>
            <a:r>
              <a:rPr lang="ru-RU" sz="1100" b="0" baseline="0" dirty="0" smtClean="0">
                <a:ea typeface="Times New Roman"/>
                <a:cs typeface="Times New Roman"/>
              </a:rPr>
              <a:t>(«Отчет о целях и путях трансформации», </a:t>
            </a:r>
            <a:r>
              <a:rPr lang="en-US" sz="1100" b="0" baseline="0" dirty="0" err="1" smtClean="0">
                <a:ea typeface="Times New Roman"/>
                <a:cs typeface="Times New Roman"/>
              </a:rPr>
              <a:t>DIWEcon</a:t>
            </a:r>
            <a:r>
              <a:rPr lang="ru-RU" sz="1100" b="0" baseline="0" dirty="0" smtClean="0">
                <a:ea typeface="Times New Roman"/>
                <a:cs typeface="Times New Roman"/>
              </a:rPr>
              <a:t>, 102 страницы), </a:t>
            </a:r>
            <a:r>
              <a:rPr lang="ru-RU" sz="1100" b="1" baseline="0" dirty="0" smtClean="0">
                <a:ea typeface="Times New Roman"/>
                <a:cs typeface="Times New Roman"/>
              </a:rPr>
              <a:t>презентованный </a:t>
            </a:r>
            <a:r>
              <a:rPr lang="ru-RU" altLang="ko-KR" sz="1100" b="1" dirty="0" smtClean="0">
                <a:solidFill>
                  <a:schemeClr val="tx1"/>
                </a:solidFill>
                <a:ea typeface="Gulim" pitchFamily="34" charset="-127"/>
              </a:rPr>
              <a:t>5 марта</a:t>
            </a:r>
            <a:r>
              <a:rPr lang="ru-RU" altLang="ko-KR" sz="1100" b="1" baseline="0" dirty="0" smtClean="0">
                <a:solidFill>
                  <a:schemeClr val="tx1"/>
                </a:solidFill>
                <a:ea typeface="Gulim" pitchFamily="34" charset="-127"/>
              </a:rPr>
              <a:t> </a:t>
            </a:r>
            <a:r>
              <a:rPr lang="ru-RU" altLang="ko-KR" sz="1100" b="0" baseline="0" dirty="0" smtClean="0">
                <a:solidFill>
                  <a:schemeClr val="tx1"/>
                </a:solidFill>
                <a:ea typeface="Gulim" pitchFamily="34" charset="-127"/>
              </a:rPr>
              <a:t>75 представителям заинтересованных сторон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altLang="ko-KR" sz="1100" b="0" baseline="0" dirty="0" smtClean="0">
              <a:solidFill>
                <a:schemeClr val="tx1"/>
              </a:solidFill>
              <a:ea typeface="Gulim" pitchFamily="34" charset="-127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1100" b="0" baseline="0" dirty="0" smtClean="0">
                <a:solidFill>
                  <a:schemeClr val="tx1"/>
                </a:solidFill>
                <a:ea typeface="Gulim" pitchFamily="34" charset="-127"/>
              </a:rPr>
              <a:t>Также сразу после январского </a:t>
            </a:r>
            <a:r>
              <a:rPr lang="kk-KZ" altLang="ko-KR" sz="1100" b="0" baseline="0" dirty="0" smtClean="0">
                <a:solidFill>
                  <a:schemeClr val="tx1"/>
                </a:solidFill>
                <a:ea typeface="Gulim" pitchFamily="34" charset="-127"/>
              </a:rPr>
              <a:t>В</a:t>
            </a:r>
            <a:r>
              <a:rPr lang="ru-RU" altLang="ko-KR" sz="1100" b="0" baseline="0" dirty="0" smtClean="0">
                <a:solidFill>
                  <a:schemeClr val="tx1"/>
                </a:solidFill>
                <a:ea typeface="Gulim" pitchFamily="34" charset="-127"/>
              </a:rPr>
              <a:t>одного семинара началась работа по моделированию (условно </a:t>
            </a:r>
            <a:r>
              <a:rPr lang="ru-RU" sz="1100" b="1" i="1" u="sng" baseline="0" dirty="0" smtClean="0"/>
              <a:t>Третий этап проекта</a:t>
            </a:r>
            <a:r>
              <a:rPr lang="ru-RU" sz="1100" b="1" baseline="0" dirty="0" smtClean="0"/>
              <a:t>)</a:t>
            </a:r>
            <a:r>
              <a:rPr lang="ru-RU" altLang="ko-KR" sz="1100" b="0" baseline="0" dirty="0" smtClean="0">
                <a:solidFill>
                  <a:schemeClr val="tx1"/>
                </a:solidFill>
                <a:ea typeface="Gulim" pitchFamily="34" charset="-127"/>
              </a:rPr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altLang="ko-KR" sz="1100" b="0" u="none" baseline="0" dirty="0" smtClean="0">
              <a:solidFill>
                <a:schemeClr val="tx1"/>
              </a:solidFill>
              <a:ea typeface="Gulim" pitchFamily="34" charset="-127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1100" b="1" u="none" baseline="0" dirty="0" smtClean="0">
                <a:solidFill>
                  <a:schemeClr val="tx1"/>
                </a:solidFill>
                <a:ea typeface="Gulim" pitchFamily="34" charset="-127"/>
              </a:rPr>
              <a:t>На данный момент </a:t>
            </a:r>
            <a:r>
              <a:rPr lang="ru-RU" altLang="ko-KR" sz="1100" b="0" u="none" baseline="0" dirty="0" smtClean="0">
                <a:solidFill>
                  <a:schemeClr val="tx1"/>
                </a:solidFill>
                <a:ea typeface="Gulim" pitchFamily="34" charset="-127"/>
              </a:rPr>
              <a:t>руководство проекта ожидает от министерств и ассоциаций и других заинтересованных сторон </a:t>
            </a:r>
            <a:r>
              <a:rPr lang="ru-RU" altLang="ko-KR" sz="1100" b="1" u="none" baseline="0" dirty="0" smtClean="0">
                <a:solidFill>
                  <a:schemeClr val="tx1"/>
                </a:solidFill>
                <a:ea typeface="Gulim" pitchFamily="34" charset="-127"/>
              </a:rPr>
              <a:t>критических замечаний и предложений по описанным в </a:t>
            </a:r>
            <a:r>
              <a:rPr lang="ru-RU" altLang="ko-KR" sz="1100" b="0" u="none" dirty="0" smtClean="0">
                <a:solidFill>
                  <a:schemeClr val="tx1"/>
                </a:solidFill>
                <a:ea typeface="Gulim" pitchFamily="34" charset="-127"/>
              </a:rPr>
              <a:t>первом </a:t>
            </a:r>
            <a:r>
              <a:rPr lang="ru-RU" altLang="ko-KR" sz="1100" b="0" u="none" dirty="0" err="1" smtClean="0">
                <a:solidFill>
                  <a:schemeClr val="tx1"/>
                </a:solidFill>
                <a:ea typeface="Gulim" pitchFamily="34" charset="-127"/>
              </a:rPr>
              <a:t>драфте</a:t>
            </a:r>
            <a:r>
              <a:rPr lang="ru-RU" altLang="ko-KR" sz="1100" b="0" u="none" dirty="0" smtClean="0">
                <a:solidFill>
                  <a:schemeClr val="tx1"/>
                </a:solidFill>
                <a:ea typeface="Gulim" pitchFamily="34" charset="-127"/>
              </a:rPr>
              <a:t> СНУР </a:t>
            </a:r>
            <a:r>
              <a:rPr lang="ru-RU" altLang="ko-KR" sz="1100" b="1" u="none" baseline="0" dirty="0" smtClean="0">
                <a:solidFill>
                  <a:schemeClr val="tx1"/>
                </a:solidFill>
                <a:ea typeface="Gulim" pitchFamily="34" charset="-127"/>
              </a:rPr>
              <a:t>сценариям (ПРЕДПОЛОЖЕНИЯМ)</a:t>
            </a:r>
            <a:r>
              <a:rPr lang="ru-RU" altLang="ko-KR" sz="1100" b="0" baseline="0" dirty="0" smtClean="0">
                <a:solidFill>
                  <a:schemeClr val="tx1"/>
                </a:solidFill>
                <a:ea typeface="Gulim" pitchFamily="34" charset="-127"/>
              </a:rPr>
              <a:t>. </a:t>
            </a:r>
            <a:r>
              <a:rPr lang="ru-RU" sz="1100" b="0" baseline="0" dirty="0" smtClean="0"/>
              <a:t>Согласованное </a:t>
            </a:r>
            <a:r>
              <a:rPr lang="ru-RU" sz="1100" b="1" baseline="0" dirty="0" smtClean="0"/>
              <a:t>СТРАТЕГИЧЕСКОЕ ВИДЕНИЕ</a:t>
            </a:r>
            <a:r>
              <a:rPr lang="ru-RU" sz="1100" baseline="0" dirty="0" smtClean="0"/>
              <a:t> (то есть утверждённое </a:t>
            </a:r>
            <a:r>
              <a:rPr lang="ru-RU" sz="1100" baseline="0" dirty="0" smtClean="0">
                <a:ea typeface="Times New Roman"/>
                <a:cs typeface="Times New Roman"/>
              </a:rPr>
              <a:t>описание сценариев</a:t>
            </a:r>
            <a:r>
              <a:rPr lang="ru-RU" sz="1100" baseline="0" dirty="0" smtClean="0"/>
              <a:t>) </a:t>
            </a:r>
            <a:r>
              <a:rPr lang="ru-RU" sz="1100" baseline="0" dirty="0" smtClean="0">
                <a:ea typeface="Times New Roman"/>
                <a:cs typeface="Times New Roman"/>
              </a:rPr>
              <a:t>позволит моделистам приступить к глубокому эмпирическому анализу согласованных сценариев экономического </a:t>
            </a:r>
            <a:r>
              <a:rPr lang="ru-RU" sz="1100" baseline="0" dirty="0" err="1" smtClean="0">
                <a:ea typeface="Times New Roman"/>
                <a:cs typeface="Times New Roman"/>
              </a:rPr>
              <a:t>низкоуглеродного</a:t>
            </a:r>
            <a:r>
              <a:rPr lang="ru-RU" sz="1100" baseline="0" dirty="0" smtClean="0">
                <a:ea typeface="Times New Roman"/>
                <a:cs typeface="Times New Roman"/>
              </a:rPr>
              <a:t> развития Казахстана до 2050 года, чтобы количественно и качественно их оценить.</a:t>
            </a:r>
            <a:endParaRPr lang="ru-RU" altLang="ko-KR" sz="1100" b="0" baseline="0" dirty="0" smtClean="0">
              <a:solidFill>
                <a:schemeClr val="tx1"/>
              </a:solidFill>
              <a:ea typeface="Gulim" pitchFamily="34" charset="-127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1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 smtClean="0"/>
              <a:t>В </a:t>
            </a:r>
            <a:r>
              <a:rPr lang="ru-RU" sz="1100" b="1" baseline="0" dirty="0" smtClean="0"/>
              <a:t>конце </a:t>
            </a:r>
            <a:r>
              <a:rPr lang="ru-RU" sz="1100" b="1" dirty="0" smtClean="0"/>
              <a:t>мая </a:t>
            </a:r>
            <a:r>
              <a:rPr lang="en-US" sz="1100" b="0" dirty="0" err="1" smtClean="0"/>
              <a:t>DIWEcon</a:t>
            </a:r>
            <a:r>
              <a:rPr lang="ru-RU" sz="1100" b="0" dirty="0" smtClean="0"/>
              <a:t> представит</a:t>
            </a:r>
            <a:r>
              <a:rPr lang="ru-RU" sz="1100" b="0" baseline="0" dirty="0" smtClean="0"/>
              <a:t> </a:t>
            </a:r>
            <a:r>
              <a:rPr lang="ru-RU" sz="1100" b="1" dirty="0" smtClean="0"/>
              <a:t>Отчет с согласованным описанием сценариев </a:t>
            </a:r>
            <a:r>
              <a:rPr lang="ru-RU" sz="1100" b="0" dirty="0" smtClean="0"/>
              <a:t>с учетом</a:t>
            </a:r>
            <a:r>
              <a:rPr lang="ru-RU" sz="1100" b="0" baseline="0" dirty="0" smtClean="0"/>
              <a:t> замечаний и предложений </a:t>
            </a:r>
            <a:r>
              <a:rPr lang="ru-RU" sz="1100" b="0" baseline="0" dirty="0" err="1" smtClean="0"/>
              <a:t>стейкхолдеров</a:t>
            </a:r>
            <a:r>
              <a:rPr lang="ru-RU" sz="1100" b="0" baseline="0" dirty="0" smtClean="0"/>
              <a:t>, который как ожидается, будет утвержден МЭГПР РК. На этом завершится второй важный этап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0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1" u="sng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ретий этап проекта 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– это моделирование. Модели сейчас строятся международными моделистами при активной информационно-консультационной помощи со стороны местных партнеров. Это - вклад партнеров в проект. При этом международные моделисты передают знания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аким образом в настоящее время сотрудники «</a:t>
            </a:r>
            <a:r>
              <a:rPr kumimoji="0" 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Жасыл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даму» и ИЭИ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учаются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оделированию (трем моделям),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дновременно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занимаются сбором и обработкой данных, которые передаются международным моделистам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введения в модели, то есть находятся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 постоянном контакте с командой международных моделистов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акже активно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участвуют во всех консультационных совещаниях (обсуждениях) и опросах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в качестве экспертов, а также чтобы не упустить из внимания важную информацию от </a:t>
            </a:r>
            <a:r>
              <a:rPr kumimoji="0" 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тейкхолдеров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завязать нужные контакты с отраслевиками для сбора данных и прочей информаци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 конце мая ожидается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ередача 4-х моделей партнерам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 июня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одолжится уже совместное моделирование сценариев НУР с участием и международных и национальных членов команды проекта. Каждый партнер будет участвовать непосредственно в глубоком эмпирическом анализе с описанием полученных результатов. Таким образом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усиление потенциала партнеров перейдет в практическое русло для наработки полезных навыков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i="1" u="sng" baseline="0" dirty="0" smtClean="0"/>
              <a:t>Четвертый этап проекта </a:t>
            </a:r>
            <a:r>
              <a:rPr lang="ru-RU" sz="1100" b="1" i="1" u="none" baseline="0" dirty="0" smtClean="0"/>
              <a:t> «</a:t>
            </a:r>
            <a:r>
              <a:rPr lang="ru-RU" sz="1100" b="1" baseline="0" dirty="0" smtClean="0"/>
              <a:t>Анализ потенциальных экономических структур» </a:t>
            </a:r>
            <a:r>
              <a:rPr lang="ru-RU" sz="1100" b="0" baseline="0" dirty="0" smtClean="0"/>
              <a:t>- это глубокий эмпирический анализ сценариев экономического </a:t>
            </a:r>
            <a:r>
              <a:rPr lang="ru-RU" sz="1100" b="0" baseline="0" dirty="0" err="1" smtClean="0"/>
              <a:t>низкоуглеродного</a:t>
            </a:r>
            <a:r>
              <a:rPr lang="ru-RU" sz="1100" b="0" baseline="0" dirty="0" smtClean="0"/>
              <a:t> развития с оценкой всех параметров, прописанных в Техническом задании для международного консультанта</a:t>
            </a:r>
            <a:r>
              <a:rPr lang="ru-RU" sz="900" b="0" baseline="0" dirty="0" smtClean="0"/>
              <a:t>.</a:t>
            </a:r>
            <a:r>
              <a:rPr lang="ru-RU" sz="900" b="1" baseline="0" dirty="0" smtClean="0"/>
              <a:t> </a:t>
            </a:r>
            <a:r>
              <a:rPr lang="ru-RU" sz="1100" b="0" baseline="0" dirty="0" smtClean="0"/>
              <a:t>Этот этап </a:t>
            </a:r>
            <a:r>
              <a:rPr lang="ru-RU" sz="1100" b="1" baseline="0" dirty="0" smtClean="0"/>
              <a:t>начинается в мае </a:t>
            </a:r>
            <a:r>
              <a:rPr lang="ru-RU" sz="1100" b="0" baseline="0" dirty="0" smtClean="0"/>
              <a:t>(с тестирования построенных моделей) </a:t>
            </a:r>
            <a:r>
              <a:rPr lang="ru-RU" sz="1100" b="1" baseline="0" dirty="0" smtClean="0"/>
              <a:t>и продлится до конца ноября</a:t>
            </a:r>
            <a:r>
              <a:rPr lang="ru-RU" sz="1100" b="0" baseline="0" dirty="0" smtClean="0"/>
              <a:t>. Будут рассчитываться инвестиционные потребности (необходимые затраты) и выгоды по всем сценариям декарбонизации. Также сопутствующие социальные, экологические и экономические эффекты реализуемых политик и мер в ключевых отраслях страны, включая выбросы ПГ, потребление топливно-энергетических ресурсов и т.д.. </a:t>
            </a:r>
            <a:r>
              <a:rPr lang="ru-RU" sz="1100" b="1" baseline="0" dirty="0" smtClean="0"/>
              <a:t>В мае и июле промежуточные результаты эмпирического исследования будут выноситься на обсуждение </a:t>
            </a:r>
            <a:r>
              <a:rPr lang="ru-RU" sz="1100" b="1" baseline="0" dirty="0" err="1" smtClean="0"/>
              <a:t>стейкхолдеров</a:t>
            </a:r>
            <a:r>
              <a:rPr lang="ru-RU" sz="1100" b="0" baseline="0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0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0" baseline="0" dirty="0" smtClean="0"/>
              <a:t>Следует отметить, что </a:t>
            </a:r>
            <a:r>
              <a:rPr lang="ru-RU" sz="1100" b="1" baseline="0" dirty="0" smtClean="0"/>
              <a:t>взаимодействие со </a:t>
            </a:r>
            <a:r>
              <a:rPr lang="ru-RU" sz="1100" b="1" baseline="0" dirty="0" err="1" smtClean="0"/>
              <a:t>стейкхолдерами</a:t>
            </a:r>
            <a:r>
              <a:rPr lang="ru-RU" sz="1100" b="1" baseline="0" dirty="0" smtClean="0"/>
              <a:t> является сквозным мероприятием всего процесса разработки СНУР</a:t>
            </a:r>
            <a:r>
              <a:rPr lang="ru-RU" sz="1100" b="0" baseline="0" dirty="0" smtClean="0"/>
              <a:t>. Это обеспечит достижение общественного консенсуса, что важно для обеспечения справедливого национально приемлемого перехода к </a:t>
            </a:r>
            <a:r>
              <a:rPr lang="ru-RU" sz="1100" b="0" baseline="0" dirty="0" err="1" smtClean="0"/>
              <a:t>низкоуглеродному</a:t>
            </a:r>
            <a:r>
              <a:rPr lang="ru-RU" sz="1100" b="0" baseline="0" dirty="0" smtClean="0"/>
              <a:t> развитию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0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i="1" u="sng" baseline="0" dirty="0" smtClean="0"/>
              <a:t>Пятый </a:t>
            </a:r>
            <a:r>
              <a:rPr lang="ru-RU" sz="1100" b="1" i="0" u="sng" baseline="0" dirty="0" smtClean="0"/>
              <a:t>этап </a:t>
            </a:r>
            <a:r>
              <a:rPr lang="ru-RU" sz="1100" b="1" i="0" baseline="0" dirty="0" smtClean="0"/>
              <a:t>– это завершение подготовки СНУР</a:t>
            </a:r>
            <a:r>
              <a:rPr lang="ru-RU" sz="1100" b="0" i="0" baseline="0" dirty="0" smtClean="0"/>
              <a:t>. Документ будет готов к концу ноября 2020 года.</a:t>
            </a:r>
            <a:r>
              <a:rPr lang="en-US" sz="1100" b="0" i="0" baseline="0" dirty="0" smtClean="0"/>
              <a:t> </a:t>
            </a:r>
            <a:r>
              <a:rPr lang="ru-RU" sz="1100" b="0" i="0" baseline="0" dirty="0" smtClean="0"/>
              <a:t>За свод документа отвечает международный </a:t>
            </a:r>
            <a:r>
              <a:rPr lang="ru-RU" sz="1100" b="0" i="0" baseline="0" dirty="0" err="1" smtClean="0"/>
              <a:t>консультатнт</a:t>
            </a:r>
            <a:r>
              <a:rPr lang="ru-RU" sz="1100" b="0" i="0" baseline="0" dirty="0" smtClean="0"/>
              <a:t> проекта – немецкая консалтинговая компания </a:t>
            </a:r>
            <a:r>
              <a:rPr lang="en-US" sz="1100" b="0" i="0" baseline="0" dirty="0" err="1" smtClean="0"/>
              <a:t>DIWEcon</a:t>
            </a:r>
            <a:r>
              <a:rPr lang="ru-RU" sz="1100" b="0" i="0" baseline="0" dirty="0" smtClean="0"/>
              <a:t>.</a:t>
            </a: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jhr qG CUZG ugrz v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069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 сегодняшний день решено, что количество KPI, которые можно отслеживать  через </a:t>
            </a:r>
            <a:r>
              <a:rPr lang="ru-RU" dirty="0" err="1" smtClean="0"/>
              <a:t>Dashboard</a:t>
            </a:r>
            <a:r>
              <a:rPr lang="ru-RU" dirty="0" smtClean="0"/>
              <a:t> будет не более 9. </a:t>
            </a:r>
          </a:p>
          <a:p>
            <a:r>
              <a:rPr lang="ru-RU" dirty="0" smtClean="0"/>
              <a:t>После завершения процесса моделирования и анализа результатов сценариев развития экономики РК данные будут внесены в </a:t>
            </a:r>
            <a:r>
              <a:rPr lang="ru-RU" dirty="0" err="1" smtClean="0"/>
              <a:t>Dashboard</a:t>
            </a:r>
            <a:r>
              <a:rPr lang="ru-RU" dirty="0" smtClean="0"/>
              <a:t>.</a:t>
            </a:r>
          </a:p>
          <a:p>
            <a:r>
              <a:rPr lang="ru-RU" dirty="0" err="1" smtClean="0"/>
              <a:t>Dashboard</a:t>
            </a:r>
            <a:r>
              <a:rPr lang="ru-RU" dirty="0" smtClean="0"/>
              <a:t> будет прикреплен к финальное версии СНУР в виде электронного приложения.</a:t>
            </a:r>
          </a:p>
          <a:p>
            <a:r>
              <a:rPr lang="ru-RU" dirty="0" err="1" smtClean="0"/>
              <a:t>Dashboard</a:t>
            </a:r>
            <a:r>
              <a:rPr lang="ru-RU" dirty="0" smtClean="0"/>
              <a:t> будет регулярно обновляться (не автоматически). Для этого местные эксперты будут обучены вводить изменения в панель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>
                <a:solidFill>
                  <a:prstClr val="black"/>
                </a:solidFill>
              </a:rPr>
              <a:pPr/>
              <a:t>2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6991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baseline="0" dirty="0" smtClean="0"/>
              <a:t>Международный консультант проекта </a:t>
            </a:r>
            <a:r>
              <a:rPr lang="en-US" b="1" baseline="0" dirty="0" smtClean="0"/>
              <a:t>DIW Econ</a:t>
            </a:r>
            <a:r>
              <a:rPr lang="ru-RU" b="1" baseline="0" dirty="0" smtClean="0"/>
              <a:t> </a:t>
            </a:r>
            <a:r>
              <a:rPr lang="ru-RU" baseline="0" dirty="0" smtClean="0"/>
              <a:t>проанализировав динамику показателей развитие национальной экономики и стратегические документы, особо обращая внимание на целевые установки Концепции по переходу РК к зеленой экономике (КЗЭ), </a:t>
            </a:r>
            <a:r>
              <a:rPr lang="ru-RU" b="1" baseline="0" dirty="0" smtClean="0"/>
              <a:t>установил, что многие целевые показатели КЗЭ, в частности по обновлению инфраструктурных объектов во всех секторах экономики </a:t>
            </a:r>
            <a:r>
              <a:rPr lang="ru-RU" b="1" u="sng" baseline="0" dirty="0" smtClean="0"/>
              <a:t>при сохранении текущих тенденций </a:t>
            </a:r>
            <a:r>
              <a:rPr lang="ru-RU" b="1" baseline="0" dirty="0" smtClean="0"/>
              <a:t>не могут быть достигнуты в установленные сроки</a:t>
            </a:r>
            <a:r>
              <a:rPr lang="ru-RU" baseline="0" dirty="0" smtClean="0"/>
              <a:t>. К примеру, к 2030 году срок эксплуатации 55% всех зданий и 40% электростанций в стране не должен превысить 20 лет, а 80% автопарка должны обновиться. На это требуется ежегодно направлять инвестиции в размере чуть менее 4%ВВП. На сегодняшний день накопленное отставание по инвестициям в инфраструктуру уже составило 84 млрд. долл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Достижения целевых установок КЗЭ не может быть достигнуто без притока инвестиций на замену инфраструктуры. Без выведения из эксплуатации старых основных фондов и введения новых </a:t>
            </a:r>
            <a:r>
              <a:rPr lang="ru-RU" baseline="0" dirty="0" err="1" smtClean="0"/>
              <a:t>энергоэффективных</a:t>
            </a:r>
            <a:r>
              <a:rPr lang="ru-RU" baseline="0" dirty="0" smtClean="0"/>
              <a:t> невозможно существенно сократить абсолютные и удельные выбросы ПГ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АО «</a:t>
            </a:r>
            <a:r>
              <a:rPr lang="ru-RU" baseline="0" dirty="0" err="1" smtClean="0"/>
              <a:t>Жасыл</a:t>
            </a:r>
            <a:r>
              <a:rPr lang="ru-RU" baseline="0" dirty="0" smtClean="0"/>
              <a:t> даму» может подтвердить, что согласно данным </a:t>
            </a:r>
            <a:r>
              <a:rPr lang="en-US" baseline="0" dirty="0" smtClean="0"/>
              <a:t>the Global Carbon Atlas</a:t>
            </a:r>
            <a:r>
              <a:rPr lang="ru-RU" baseline="0" dirty="0" smtClean="0"/>
              <a:t>, </a:t>
            </a:r>
            <a:r>
              <a:rPr lang="ru-RU" b="1" baseline="0" dirty="0" smtClean="0"/>
              <a:t>Казахстан по итогам 2018 года занял 21 место в мире</a:t>
            </a:r>
            <a:r>
              <a:rPr lang="ru-RU" baseline="0" dirty="0" smtClean="0"/>
              <a:t> среди более 200 стран мира </a:t>
            </a:r>
            <a:r>
              <a:rPr lang="ru-RU" b="1" baseline="0" dirty="0" smtClean="0"/>
              <a:t>по объемам выбросов углекислого газа, по углеродоемкости ВВП – 4-ое место, по выбросам на душу населения – 10-ое место с показателем 18 тонн СО2-экв. на 1 человека в год.</a:t>
            </a:r>
            <a:r>
              <a:rPr lang="ru-RU" baseline="0" dirty="0" smtClean="0"/>
              <a:t> В то время как Казахстан повышает свою энергоэффективность медленными темпами, мир ушел далеко вперед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В этой связи разработчики считают целесообразным строить: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r>
              <a:rPr lang="ru-RU" b="1" u="sng" baseline="0" dirty="0" smtClean="0"/>
              <a:t>Базовый сценарий </a:t>
            </a:r>
            <a:r>
              <a:rPr lang="ru-RU" u="sng" baseline="0" dirty="0" smtClean="0"/>
              <a:t>слабой климатической политики</a:t>
            </a:r>
            <a:r>
              <a:rPr lang="ru-RU" baseline="0" dirty="0" smtClean="0"/>
              <a:t>, который сохранит текущее положения дел в экономике, отдельно от 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r>
              <a:rPr lang="ru-RU" b="1" u="sng" baseline="0" dirty="0" smtClean="0"/>
              <a:t>сценария «Зеленая экономика»</a:t>
            </a:r>
            <a:r>
              <a:rPr lang="ru-RU" b="0" u="none" baseline="0" dirty="0" smtClean="0"/>
              <a:t> (она первоначально называлась «Зеленая экономика+</a:t>
            </a:r>
            <a:r>
              <a:rPr lang="en-US" b="0" u="none" baseline="0" dirty="0" smtClean="0"/>
              <a:t>NDC</a:t>
            </a:r>
            <a:r>
              <a:rPr lang="ru-RU" b="0" u="none" baseline="0" dirty="0" smtClean="0"/>
              <a:t>», </a:t>
            </a:r>
            <a:r>
              <a:rPr lang="ru-RU" baseline="0" dirty="0" smtClean="0"/>
              <a:t>в котором страна будет стремиться достигать целевые установки, закрепленные в КЗЭ, а также реализовывать </a:t>
            </a:r>
            <a:r>
              <a:rPr lang="ru-RU" b="1" baseline="0" dirty="0" smtClean="0"/>
              <a:t>любые дополнительные меры, </a:t>
            </a:r>
            <a:r>
              <a:rPr lang="ru-RU" b="1" u="sng" baseline="0" dirty="0" smtClean="0"/>
              <a:t>не требующие привлечения государственных дотаций, помощи внешних доноров</a:t>
            </a:r>
            <a:r>
              <a:rPr lang="ru-RU" b="1" baseline="0" dirty="0" smtClean="0"/>
              <a:t>, для достижения </a:t>
            </a:r>
            <a:r>
              <a:rPr lang="en-US" b="1" baseline="0" dirty="0" smtClean="0"/>
              <a:t>NDC</a:t>
            </a:r>
            <a:r>
              <a:rPr lang="ru-RU" baseline="0" dirty="0" smtClean="0"/>
              <a:t>. Это подразумевает, что инвестиции на эти меры будут окупаться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В Базовом сценарии не предусматривается достижение </a:t>
            </a:r>
            <a:r>
              <a:rPr lang="en-US" baseline="0" dirty="0" smtClean="0"/>
              <a:t>NDC</a:t>
            </a:r>
            <a:r>
              <a:rPr lang="ru-RU" baseline="0" dirty="0" smtClean="0"/>
              <a:t> и целей КЗЭ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В сценарии  «Зеленая экономика» достигается только безусловная цель </a:t>
            </a:r>
            <a:r>
              <a:rPr lang="en-US" baseline="0" dirty="0" smtClean="0"/>
              <a:t>NDC</a:t>
            </a:r>
            <a:r>
              <a:rPr lang="ru-RU" baseline="0" dirty="0" smtClean="0"/>
              <a:t> (-15% от уровня выбросов 1990 года). Соответственно меры снижения выбросов реализуются без внешней донорской поддержки из-вне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Также предлагается оценить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(3) </a:t>
            </a:r>
            <a:r>
              <a:rPr lang="ru-RU" b="1" u="sng" baseline="0" dirty="0" smtClean="0"/>
              <a:t>сценарий «Нулевой баланс ПГ»</a:t>
            </a:r>
            <a:r>
              <a:rPr lang="ru-RU" b="0" u="none" baseline="0" dirty="0" smtClean="0"/>
              <a:t> - углеродная нейтральность </a:t>
            </a:r>
            <a:r>
              <a:rPr lang="ru-RU" baseline="0" dirty="0" smtClean="0"/>
              <a:t>к 2050 году в соответствии с Парижским соглашением. Амбициозная национальная климатическая политика не ради имиджа, а ради предотвращения внешнеторговых рисков, чрезмерного политического давления из-вне, усиление ответственности за адаптацию уязвимых секторов, людей и экосистем. Интересно посмотреть, каких усилий будет стоит Казахстану расширение амбиций до уровня самых развитых стран мира, в число которых он стремиться попасть к 2050 году. </a:t>
            </a:r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Какие бы темпы декарбонизации экономики не выбрал Казахстан, на благополучие страны будут влиять внешнеэкономические связи</a:t>
            </a:r>
            <a:r>
              <a:rPr lang="ru-RU" baseline="0" dirty="0" smtClean="0"/>
              <a:t> и условия международной торговли. Об этом мы уже упоминали выше. Основными торговыми партнерами Казахстана являются ЕС, Китай и Россия. </a:t>
            </a:r>
            <a:r>
              <a:rPr lang="ru-RU" baseline="0" dirty="0" err="1" smtClean="0"/>
              <a:t>Климатоориентированные</a:t>
            </a:r>
            <a:r>
              <a:rPr lang="ru-RU" baseline="0" dirty="0" smtClean="0"/>
              <a:t> амбиции первых двух стран окажут сильное «давление» на конкурентоспособность.</a:t>
            </a:r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Поэтому </a:t>
            </a:r>
            <a:r>
              <a:rPr lang="ru-RU" b="1" dirty="0" smtClean="0"/>
              <a:t>консультант предлагает изучить три сценария </a:t>
            </a:r>
            <a:r>
              <a:rPr lang="ru-RU" b="1" dirty="0" err="1" smtClean="0"/>
              <a:t>низкоуглеродного</a:t>
            </a:r>
            <a:r>
              <a:rPr lang="ru-RU" b="1" dirty="0" smtClean="0"/>
              <a:t> развития национальной экономики </a:t>
            </a:r>
            <a:r>
              <a:rPr lang="ru-RU" b="1" u="sng" dirty="0" smtClean="0"/>
              <a:t>в контексте</a:t>
            </a:r>
            <a:r>
              <a:rPr lang="ru-RU" b="1" u="sng" baseline="0" dirty="0" smtClean="0"/>
              <a:t> </a:t>
            </a:r>
            <a:r>
              <a:rPr lang="ru-RU" b="1" u="sng" dirty="0" smtClean="0"/>
              <a:t>двух глобальных сценариев развития климатической политики</a:t>
            </a:r>
            <a:r>
              <a:rPr lang="ru-RU" dirty="0" smtClean="0"/>
              <a:t>:</a:t>
            </a:r>
          </a:p>
          <a:p>
            <a:pPr marL="228600" indent="-228600">
              <a:buAutoNum type="arabicParenBoth"/>
            </a:pPr>
            <a:r>
              <a:rPr lang="ru-RU" dirty="0" smtClean="0"/>
              <a:t>«</a:t>
            </a:r>
            <a:r>
              <a:rPr lang="ru-RU" b="1" dirty="0" smtClean="0"/>
              <a:t>Глобальный </a:t>
            </a:r>
            <a:r>
              <a:rPr lang="en-US" b="1" dirty="0" smtClean="0"/>
              <a:t>NDC</a:t>
            </a:r>
            <a:r>
              <a:rPr lang="ru-RU" dirty="0" smtClean="0"/>
              <a:t>», когда страны РКИК ООН и Парижского соглашения выполнят</a:t>
            </a:r>
            <a:r>
              <a:rPr lang="ru-RU" baseline="0" dirty="0" smtClean="0"/>
              <a:t> свои </a:t>
            </a:r>
            <a:r>
              <a:rPr lang="en-US" baseline="0" dirty="0" smtClean="0"/>
              <a:t>NDC</a:t>
            </a:r>
            <a:r>
              <a:rPr lang="ru-RU" baseline="0" dirty="0" smtClean="0"/>
              <a:t> до 2030 года, а после 2030 года никаких дополнительных усилий предпринимать не будут, удерживая достигнутый «сниженный» уровень выбросов ПГ. </a:t>
            </a:r>
            <a:r>
              <a:rPr lang="ru-RU" b="1" baseline="0" dirty="0" smtClean="0"/>
              <a:t>Для Казахстана это может означать, что мировое сообщество не будет давить на страну, чтобы вынудить идти на углеродную нейтральность</a:t>
            </a:r>
            <a:r>
              <a:rPr lang="ru-RU" baseline="0" dirty="0" smtClean="0"/>
              <a:t>.</a:t>
            </a:r>
          </a:p>
          <a:p>
            <a:pPr marL="228600" indent="-228600">
              <a:buAutoNum type="arabicParenBoth"/>
            </a:pPr>
            <a:r>
              <a:rPr lang="ru-RU" baseline="0" dirty="0" smtClean="0"/>
              <a:t>Второй глобальный сценарий </a:t>
            </a:r>
            <a:r>
              <a:rPr lang="ru-RU" b="1" baseline="0" dirty="0" smtClean="0"/>
              <a:t>«Глобальный 1,5⁰С»</a:t>
            </a:r>
            <a:r>
              <a:rPr lang="ru-RU" baseline="0" dirty="0" smtClean="0"/>
              <a:t>, в котором </a:t>
            </a:r>
            <a:r>
              <a:rPr lang="ru-RU" b="1" baseline="0" dirty="0" smtClean="0"/>
              <a:t>страны после 2030 года еще больше усилят меры сокращения выбросов ПГ и давление на другие страны</a:t>
            </a:r>
            <a:r>
              <a:rPr lang="ru-RU" baseline="0" dirty="0" smtClean="0"/>
              <a:t>, чтобы к 2050 году не допустить превышения температуры воздуха на планете более чем на 1,5⁰С от доиндустриального уровня.</a:t>
            </a:r>
          </a:p>
          <a:p>
            <a:endParaRPr lang="ru-RU" baseline="0" dirty="0" smtClean="0"/>
          </a:p>
          <a:p>
            <a:r>
              <a:rPr lang="ru-RU" baseline="0" dirty="0" smtClean="0"/>
              <a:t>Таким образом, предлагается к моделированию матрица из 6 сценариев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Описание </a:t>
            </a:r>
            <a:r>
              <a:rPr lang="ru-RU" b="1" baseline="0" dirty="0" smtClean="0"/>
              <a:t>СТРАТЕГИЧЕСКОГО ВИДЕНИЯ </a:t>
            </a:r>
            <a:r>
              <a:rPr lang="ru-RU" b="1" baseline="0" dirty="0" err="1" smtClean="0"/>
              <a:t>низкоуглеродного</a:t>
            </a:r>
            <a:r>
              <a:rPr lang="ru-RU" b="1" baseline="0" dirty="0" smtClean="0"/>
              <a:t> будущего Казахстана </a:t>
            </a:r>
            <a:r>
              <a:rPr lang="ru-RU" baseline="0" dirty="0" smtClean="0"/>
              <a:t>можно прочитать в разделе 4.2 (стр. 42-49) 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10028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таблице обнаруживаются неточности в строке «глобальный спрос на уголь», которые подлежат корректировке. </a:t>
            </a:r>
          </a:p>
          <a:p>
            <a:r>
              <a:rPr lang="ru-RU" dirty="0" smtClean="0"/>
              <a:t>АО «</a:t>
            </a:r>
            <a:r>
              <a:rPr lang="ru-RU" dirty="0" err="1" smtClean="0"/>
              <a:t>Жасыл</a:t>
            </a:r>
            <a:r>
              <a:rPr lang="ru-RU" dirty="0" smtClean="0"/>
              <a:t> даму» также готовит свои критические замечания и предложения по описаниям всех сценариев, которые будут направлены международному консультанту проекта.</a:t>
            </a:r>
          </a:p>
          <a:p>
            <a:endParaRPr lang="ru-RU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Более</a:t>
            </a:r>
            <a:r>
              <a:rPr lang="ru-RU" baseline="0" dirty="0" smtClean="0"/>
              <a:t> подробно описание сценариев международной климатической политики и развития внутренней политики Казахстана на страницах 42-49 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раздел 4.2). 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64659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АО «</a:t>
            </a:r>
            <a:r>
              <a:rPr lang="ru-RU" dirty="0" err="1" smtClean="0"/>
              <a:t>Жасыл</a:t>
            </a:r>
            <a:r>
              <a:rPr lang="ru-RU" dirty="0" smtClean="0"/>
              <a:t> даму» считает, что </a:t>
            </a:r>
            <a:r>
              <a:rPr lang="ru-RU" b="1" dirty="0" smtClean="0"/>
              <a:t>«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Цена на выбросы ПГ (напр., налог) для остальной экономики, не входящей в СТВ</a:t>
            </a:r>
            <a:r>
              <a:rPr lang="ru-RU" b="1" dirty="0" smtClean="0"/>
              <a:t>» </a:t>
            </a:r>
            <a:r>
              <a:rPr lang="ru-RU" dirty="0" smtClean="0"/>
              <a:t>требует более четкой формулировки или разъяснения</a:t>
            </a:r>
            <a:r>
              <a:rPr lang="ru-RU" b="1" dirty="0" smtClean="0"/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Более</a:t>
            </a:r>
            <a:r>
              <a:rPr lang="ru-RU" baseline="0" dirty="0" smtClean="0"/>
              <a:t> подробно описание сценариев международной климатической политики и развития внутренней политики Казахстана на страницах 42-49 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раздел 4.2). 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61327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 руководящих принципах разработки СНУР читайте стр. 53-55</a:t>
            </a:r>
            <a:r>
              <a:rPr lang="en-US" dirty="0" smtClean="0"/>
              <a:t> </a:t>
            </a:r>
            <a:r>
              <a:rPr lang="ru-RU" baseline="0" dirty="0" smtClean="0"/>
              <a:t>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09724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атричное (табличное) описание пакетов </a:t>
            </a:r>
            <a:r>
              <a:rPr lang="ru-RU" sz="1200" b="0" dirty="0" smtClean="0">
                <a:solidFill>
                  <a:srgbClr val="C00000"/>
                </a:solidFill>
              </a:rPr>
              <a:t>технических и политических решений для категории «Энергетической деятельности» в целом представлена на стр. 62</a:t>
            </a:r>
            <a:r>
              <a:rPr lang="en-US" sz="1200" b="0" dirty="0" smtClean="0">
                <a:solidFill>
                  <a:srgbClr val="C00000"/>
                </a:solidFill>
              </a:rPr>
              <a:t> </a:t>
            </a:r>
            <a:r>
              <a:rPr lang="ru-RU" baseline="0" dirty="0" smtClean="0"/>
              <a:t>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</a:t>
            </a:r>
            <a:r>
              <a:rPr lang="ru-RU" sz="1200" b="0" dirty="0" smtClean="0">
                <a:solidFill>
                  <a:srgbClr val="C00000"/>
                </a:solidFill>
              </a:rPr>
              <a:t>,</a:t>
            </a:r>
            <a:r>
              <a:rPr lang="ru-RU" sz="1200" b="0" baseline="0" dirty="0" smtClean="0">
                <a:solidFill>
                  <a:srgbClr val="C00000"/>
                </a:solidFill>
              </a:rPr>
              <a:t> полное </a:t>
            </a:r>
            <a:r>
              <a:rPr lang="ru-RU" sz="1200" b="0" dirty="0" smtClean="0">
                <a:solidFill>
                  <a:srgbClr val="C00000"/>
                </a:solidFill>
              </a:rPr>
              <a:t>описание</a:t>
            </a:r>
            <a:r>
              <a:rPr lang="en-US" sz="1200" b="0" dirty="0" smtClean="0">
                <a:solidFill>
                  <a:srgbClr val="C00000"/>
                </a:solidFill>
              </a:rPr>
              <a:t> -</a:t>
            </a:r>
            <a:r>
              <a:rPr lang="ru-RU" sz="1200" b="0" dirty="0" smtClean="0">
                <a:solidFill>
                  <a:srgbClr val="C00000"/>
                </a:solidFill>
              </a:rPr>
              <a:t> на стр. 58-62.</a:t>
            </a:r>
          </a:p>
          <a:p>
            <a:endParaRPr lang="ru-RU" sz="1200" b="0" dirty="0" smtClean="0">
              <a:solidFill>
                <a:srgbClr val="C00000"/>
              </a:solidFill>
            </a:endParaRPr>
          </a:p>
          <a:p>
            <a:r>
              <a:rPr lang="ru-RU" sz="1200" b="0" i="1" u="sng" dirty="0" smtClean="0">
                <a:solidFill>
                  <a:srgbClr val="C00000"/>
                </a:solidFill>
              </a:rPr>
              <a:t>Примечание</a:t>
            </a:r>
            <a:r>
              <a:rPr lang="ru-RU" sz="1200" b="0" dirty="0" smtClean="0">
                <a:solidFill>
                  <a:srgbClr val="C00000"/>
                </a:solidFill>
              </a:rPr>
              <a:t>: МГЭИК отдельно выделяет</a:t>
            </a:r>
            <a:r>
              <a:rPr lang="ru-RU" sz="1200" b="0" baseline="0" dirty="0" smtClean="0">
                <a:solidFill>
                  <a:srgbClr val="C00000"/>
                </a:solidFill>
              </a:rPr>
              <a:t> </a:t>
            </a:r>
            <a:r>
              <a:rPr lang="ru-RU" sz="1200" b="0" dirty="0" smtClean="0">
                <a:solidFill>
                  <a:srgbClr val="C00000"/>
                </a:solidFill>
              </a:rPr>
              <a:t>категорию «Энергетическая деятельность», которая объединяет все процессы сжигания топлива с выделением углекислого газа во всех секторах экономики. Внутри «энергетической деятельности» идет разделение по отраслям экономики. Так определяется вклад секторов экономики в антропогенные выбросы углекислого газа в результате сжигания топлива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42096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Обратите внимание на допущения,</a:t>
            </a:r>
            <a:r>
              <a:rPr lang="ru-RU" b="1" baseline="0" dirty="0" smtClean="0"/>
              <a:t> выделенные красным шрифтом.</a:t>
            </a:r>
            <a:endParaRPr lang="ru-RU" b="1" dirty="0" smtClean="0"/>
          </a:p>
          <a:p>
            <a:r>
              <a:rPr lang="ru-RU" dirty="0" smtClean="0"/>
              <a:t>Более подробно все предлагаемые меры и политики по декарбонизации сектора электро- и теплоснабжения описаны на</a:t>
            </a:r>
            <a:r>
              <a:rPr lang="ru-RU" baseline="0" dirty="0" smtClean="0"/>
              <a:t> страницах </a:t>
            </a:r>
            <a:r>
              <a:rPr lang="ru-RU" dirty="0" smtClean="0"/>
              <a:t>63-74 </a:t>
            </a:r>
            <a:r>
              <a:rPr lang="ru-RU" baseline="0" dirty="0" smtClean="0"/>
              <a:t>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</a:t>
            </a:r>
            <a:r>
              <a:rPr lang="ru-RU" dirty="0" smtClean="0"/>
              <a:t>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4837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Выделенное красным шрифтом требует обсуждения.</a:t>
            </a:r>
          </a:p>
          <a:p>
            <a:r>
              <a:rPr lang="ru-RU" dirty="0" smtClean="0"/>
              <a:t>АО «</a:t>
            </a:r>
            <a:r>
              <a:rPr lang="ru-RU" dirty="0" err="1" smtClean="0"/>
              <a:t>Жасыл</a:t>
            </a:r>
            <a:r>
              <a:rPr lang="ru-RU" dirty="0" smtClean="0"/>
              <a:t> даму» </a:t>
            </a:r>
            <a:r>
              <a:rPr lang="ru-RU" baseline="0" dirty="0" smtClean="0"/>
              <a:t>считает, что п</a:t>
            </a:r>
            <a:r>
              <a:rPr lang="ru-RU" dirty="0" smtClean="0"/>
              <a:t>о водороду нужно усилить политику.</a:t>
            </a:r>
          </a:p>
          <a:p>
            <a:r>
              <a:rPr lang="ru-RU" dirty="0" smtClean="0"/>
              <a:t>По </a:t>
            </a:r>
            <a:r>
              <a:rPr lang="ru-RU" dirty="0" err="1" smtClean="0"/>
              <a:t>биотопливу</a:t>
            </a:r>
            <a:r>
              <a:rPr lang="ru-RU" dirty="0" smtClean="0"/>
              <a:t> для зданий в «ЗЭ» усилить как в «Нулевом балансе». Тоже самое по ВИЭ.</a:t>
            </a:r>
          </a:p>
          <a:p>
            <a:r>
              <a:rPr lang="ru-RU" dirty="0" smtClean="0"/>
              <a:t>Надо в Глоссарии дать пояснение, что понимается под «Устойчивыми зданиями». Если – это</a:t>
            </a:r>
            <a:r>
              <a:rPr lang="ru-RU" baseline="0" dirty="0" smtClean="0"/>
              <a:t> </a:t>
            </a:r>
            <a:r>
              <a:rPr lang="ru-RU" baseline="0" dirty="0" err="1" smtClean="0"/>
              <a:t>энергопассивные</a:t>
            </a:r>
            <a:r>
              <a:rPr lang="ru-RU" baseline="0" dirty="0" smtClean="0"/>
              <a:t> дома, то почему бы не усилить политику в «ЗЭ» как в «Нулевом балансе»?</a:t>
            </a:r>
          </a:p>
          <a:p>
            <a:endParaRPr lang="ru-RU" baseline="0" dirty="0" smtClean="0"/>
          </a:p>
          <a:p>
            <a:r>
              <a:rPr lang="ru-RU" dirty="0" smtClean="0"/>
              <a:t>Более подробно все предлагаемые меры и политики по декарбонизации сектора зданий  описаны на страницах 75-80 </a:t>
            </a:r>
            <a:r>
              <a:rPr lang="ru-RU" baseline="0" dirty="0" smtClean="0"/>
              <a:t>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</a:t>
            </a:r>
            <a:r>
              <a:rPr lang="ru-RU" dirty="0" smtClean="0"/>
              <a:t>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85963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 «</a:t>
            </a:r>
            <a:r>
              <a:rPr lang="ru-RU" dirty="0" err="1" smtClean="0"/>
              <a:t>биотопливу</a:t>
            </a:r>
            <a:r>
              <a:rPr lang="ru-RU" dirty="0" smtClean="0"/>
              <a:t>» </a:t>
            </a:r>
            <a:r>
              <a:rPr lang="ru-RU" dirty="0" err="1" smtClean="0"/>
              <a:t>Жасыл</a:t>
            </a:r>
            <a:r>
              <a:rPr lang="ru-RU" dirty="0" smtClean="0"/>
              <a:t> даму предлагает не делать</a:t>
            </a:r>
            <a:r>
              <a:rPr lang="ru-RU" baseline="0" dirty="0" smtClean="0"/>
              <a:t> ставку на жидкое </a:t>
            </a:r>
            <a:r>
              <a:rPr lang="ru-RU" baseline="0" dirty="0" err="1" smtClean="0"/>
              <a:t>биотопливо</a:t>
            </a:r>
            <a:r>
              <a:rPr lang="ru-RU" baseline="0" dirty="0" smtClean="0"/>
              <a:t> и биомассу, а изучать возможность использования биогаза.</a:t>
            </a:r>
          </a:p>
          <a:p>
            <a:r>
              <a:rPr lang="ru-RU" baseline="0" dirty="0" smtClean="0"/>
              <a:t>В «Повышение энергоэффективности» - рассмотреть опцию переоборудование двигателя за счет установки газобаллонного оборудования (</a:t>
            </a:r>
            <a:r>
              <a:rPr lang="en-US" baseline="0" dirty="0" smtClean="0"/>
              <a:t>CNG </a:t>
            </a:r>
            <a:r>
              <a:rPr lang="ru-RU" baseline="0" dirty="0" smtClean="0"/>
              <a:t>и </a:t>
            </a:r>
            <a:r>
              <a:rPr lang="en-US" baseline="0" dirty="0" smtClean="0"/>
              <a:t>LPG</a:t>
            </a:r>
            <a:r>
              <a:rPr lang="ru-RU" baseline="0" dirty="0" smtClean="0"/>
              <a:t>).</a:t>
            </a:r>
          </a:p>
          <a:p>
            <a:r>
              <a:rPr lang="ru-RU" dirty="0" smtClean="0"/>
              <a:t>Более подробно все предлагаемые меры и политики по декарбонизации транспортного сектора описаны на страницах 81-85 </a:t>
            </a:r>
            <a:r>
              <a:rPr lang="ru-RU" baseline="0" dirty="0" smtClean="0"/>
              <a:t>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</a:t>
            </a:r>
            <a:r>
              <a:rPr lang="ru-RU" dirty="0" smtClean="0"/>
              <a:t>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98549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АО «</a:t>
            </a:r>
            <a:r>
              <a:rPr lang="ru-RU" sz="1200" dirty="0" err="1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Жасыл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 даму» считает, что следует значительно усилить меры в  политике «Внедрение промышленных процессов замкнутого цикла». Необходимо усилить меры по</a:t>
            </a:r>
            <a:r>
              <a:rPr lang="ru-RU" sz="1200" baseline="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 </a:t>
            </a:r>
            <a:r>
              <a:rPr lang="ru-RU" sz="1200" baseline="0" dirty="0" err="1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рециклированию</a:t>
            </a:r>
            <a:r>
              <a:rPr lang="ru-RU" sz="1200" baseline="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 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металлолома, оборотной стеклотары, пластика, </a:t>
            </a:r>
            <a:r>
              <a:rPr lang="ru-RU" sz="1200" dirty="0" err="1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биоразлагаемых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 </a:t>
            </a:r>
            <a:r>
              <a:rPr lang="ru-RU" sz="1200" dirty="0" err="1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отхоовм</a:t>
            </a:r>
            <a:r>
              <a:rPr lang="ru-RU" sz="120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, бумаге-картону и </a:t>
            </a:r>
            <a:r>
              <a:rPr lang="ru-RU" sz="1200" baseline="0" dirty="0" smtClean="0">
                <a:solidFill>
                  <a:srgbClr val="FF0000"/>
                </a:solidFill>
                <a:effectLst/>
                <a:latin typeface="+mn-lt"/>
                <a:ea typeface="Times New Roman"/>
                <a:cs typeface="Times New Roman"/>
              </a:rPr>
              <a:t>прочим ценным компонентам отходов.</a:t>
            </a:r>
            <a:endParaRPr lang="ru-RU" sz="1200" dirty="0" smtClean="0">
              <a:solidFill>
                <a:srgbClr val="FF0000"/>
              </a:solidFill>
              <a:effectLst/>
              <a:latin typeface="+mn-lt"/>
              <a:ea typeface="Times New Roman"/>
              <a:cs typeface="Times New Roman"/>
            </a:endParaRPr>
          </a:p>
          <a:p>
            <a:r>
              <a:rPr lang="ru-RU" dirty="0" smtClean="0"/>
              <a:t>Более подробно все предлагаемые меры и политики по декарбонизации обрабатывающей промышленности описаны на страницах 85-92 </a:t>
            </a:r>
            <a:r>
              <a:rPr lang="ru-RU" baseline="0" dirty="0" smtClean="0"/>
              <a:t>первого </a:t>
            </a:r>
            <a:r>
              <a:rPr lang="ru-RU" baseline="0" dirty="0" err="1" smtClean="0"/>
              <a:t>драфта</a:t>
            </a:r>
            <a:r>
              <a:rPr lang="ru-RU" baseline="0" dirty="0" smtClean="0"/>
              <a:t> СНУР (</a:t>
            </a:r>
            <a:r>
              <a:rPr lang="en-US" baseline="0" dirty="0" smtClean="0"/>
              <a:t>Narrative report</a:t>
            </a:r>
            <a:r>
              <a:rPr lang="ru-RU" baseline="0" dirty="0" smtClean="0"/>
              <a:t>)</a:t>
            </a:r>
            <a:r>
              <a:rPr lang="ru-RU" dirty="0" smtClean="0"/>
              <a:t>.</a:t>
            </a:r>
          </a:p>
          <a:p>
            <a:endParaRPr lang="ru-RU" dirty="0" smtClean="0"/>
          </a:p>
          <a:p>
            <a:r>
              <a:rPr lang="ru-RU" dirty="0" smtClean="0"/>
              <a:t>На страницах 92-96 </a:t>
            </a:r>
            <a:r>
              <a:rPr lang="ru-RU" dirty="0" err="1" smtClean="0"/>
              <a:t>Narrative</a:t>
            </a:r>
            <a:r>
              <a:rPr lang="ru-RU" dirty="0" smtClean="0"/>
              <a:t> </a:t>
            </a:r>
            <a:r>
              <a:rPr lang="ru-RU" dirty="0" err="1" smtClean="0"/>
              <a:t>Report</a:t>
            </a:r>
            <a:r>
              <a:rPr lang="ru-RU" dirty="0" smtClean="0"/>
              <a:t>  представлены меры и политики по декарбонизации сельского и лесного хозяйства и прочего земледелия,</a:t>
            </a:r>
          </a:p>
          <a:p>
            <a:r>
              <a:rPr lang="ru-RU" dirty="0" smtClean="0"/>
              <a:t>На стр. 96-99 – по сектору отходо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6548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ko-KR" dirty="0" smtClean="0">
                <a:ea typeface="Gulim" pitchFamily="34" charset="-127"/>
              </a:rPr>
              <a:t>В настоящее время </a:t>
            </a:r>
            <a:r>
              <a:rPr lang="ru-RU" altLang="ko-KR" b="1" dirty="0" smtClean="0">
                <a:ea typeface="Gulim" pitchFamily="34" charset="-127"/>
              </a:rPr>
              <a:t>три команды в составе международных и национальных экспертов кропотливо строят основу</a:t>
            </a:r>
            <a:r>
              <a:rPr lang="ru-RU" b="1" dirty="0" smtClean="0">
                <a:ea typeface="Times New Roman"/>
                <a:cs typeface="Times New Roman"/>
              </a:rPr>
              <a:t> трех моделей </a:t>
            </a:r>
            <a:r>
              <a:rPr lang="ru-RU" dirty="0" smtClean="0">
                <a:ea typeface="Times New Roman"/>
                <a:cs typeface="Times New Roman"/>
              </a:rPr>
              <a:t>(</a:t>
            </a:r>
            <a:r>
              <a:rPr lang="en-US" dirty="0" smtClean="0">
                <a:ea typeface="Times New Roman"/>
                <a:cs typeface="Times New Roman"/>
              </a:rPr>
              <a:t>TIMES, CGE </a:t>
            </a:r>
            <a:r>
              <a:rPr lang="ru-RU" dirty="0" smtClean="0">
                <a:ea typeface="Times New Roman"/>
                <a:cs typeface="Times New Roman"/>
              </a:rPr>
              <a:t>и </a:t>
            </a:r>
            <a:r>
              <a:rPr lang="en-US" dirty="0" smtClean="0">
                <a:ea typeface="Times New Roman"/>
                <a:cs typeface="Times New Roman"/>
              </a:rPr>
              <a:t>System Dynamics</a:t>
            </a:r>
            <a:r>
              <a:rPr lang="ru-RU" dirty="0" smtClean="0">
                <a:ea typeface="Times New Roman"/>
                <a:cs typeface="Times New Roman"/>
              </a:rPr>
              <a:t>) для Казахстана. </a:t>
            </a:r>
            <a:r>
              <a:rPr lang="ru-RU" b="1" dirty="0" smtClean="0">
                <a:ea typeface="Times New Roman"/>
                <a:cs typeface="Times New Roman"/>
              </a:rPr>
              <a:t>Эксперты определяют структуру</a:t>
            </a:r>
            <a:r>
              <a:rPr lang="ru-RU" b="1" baseline="0" dirty="0" smtClean="0">
                <a:ea typeface="Times New Roman"/>
                <a:cs typeface="Times New Roman"/>
              </a:rPr>
              <a:t> моделей и готовят необходимые данные для введения в модели</a:t>
            </a:r>
            <a:r>
              <a:rPr lang="ru-RU" dirty="0" smtClean="0">
                <a:ea typeface="Times New Roman"/>
                <a:cs typeface="Times New Roman"/>
              </a:rPr>
              <a:t>. </a:t>
            </a:r>
            <a:r>
              <a:rPr lang="ru-RU" b="1" dirty="0" smtClean="0">
                <a:ea typeface="Times New Roman"/>
                <a:cs typeface="Times New Roman"/>
              </a:rPr>
              <a:t>Есть проблема плохих данных</a:t>
            </a:r>
            <a:r>
              <a:rPr lang="ru-RU" dirty="0" smtClean="0">
                <a:ea typeface="Times New Roman"/>
                <a:cs typeface="Times New Roman"/>
              </a:rPr>
              <a:t>.</a:t>
            </a:r>
            <a:r>
              <a:rPr lang="ru-RU" baseline="0" dirty="0" smtClean="0">
                <a:ea typeface="Times New Roman"/>
                <a:cs typeface="Times New Roman"/>
              </a:rPr>
              <a:t> Например, много проблем в национальном топливно-энергетическом балансе страны, часто встречаются ошибки, который следует устранить на основе дополнительных отраслевых анализов до введения в модель. Эксперты проводят анализы других параметров развития секторов и учатся обнаруживать такие ошибки в балансе, чтобы уметь в дальнейшем устранять их самостоятельно. Многие данные, необходимые для модели, не формируются Комитетом по статистике. В этих случаях «</a:t>
            </a:r>
            <a:r>
              <a:rPr lang="ru-RU" baseline="0" dirty="0" err="1" smtClean="0">
                <a:ea typeface="Times New Roman"/>
                <a:cs typeface="Times New Roman"/>
              </a:rPr>
              <a:t>Жасыл</a:t>
            </a:r>
            <a:r>
              <a:rPr lang="ru-RU" baseline="0" dirty="0" smtClean="0">
                <a:ea typeface="Times New Roman"/>
                <a:cs typeface="Times New Roman"/>
              </a:rPr>
              <a:t> даму» через ДКПЗТ и ИЭИ по своим каналам направляют запросы, проводятся консультации со </a:t>
            </a:r>
            <a:r>
              <a:rPr lang="ru-RU" baseline="0" dirty="0" err="1" smtClean="0">
                <a:ea typeface="Times New Roman"/>
                <a:cs typeface="Times New Roman"/>
              </a:rPr>
              <a:t>стейкхолдерами</a:t>
            </a:r>
            <a:r>
              <a:rPr lang="ru-RU" baseline="0" dirty="0" smtClean="0">
                <a:ea typeface="Times New Roman"/>
                <a:cs typeface="Times New Roman"/>
              </a:rPr>
              <a:t>, чтобы собрать информацию для введения в модел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49413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1525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="1" u="sng" dirty="0" smtClean="0">
                <a:solidFill>
                  <a:srgbClr val="FF0000"/>
                </a:solidFill>
              </a:rPr>
              <a:t>С написанием</a:t>
            </a:r>
            <a:r>
              <a:rPr lang="ru-RU" b="1" u="sng" baseline="0" dirty="0" smtClean="0">
                <a:solidFill>
                  <a:srgbClr val="FF0000"/>
                </a:solidFill>
              </a:rPr>
              <a:t> </a:t>
            </a:r>
            <a:r>
              <a:rPr lang="ru-RU" b="1" u="sng" dirty="0" smtClean="0">
                <a:solidFill>
                  <a:srgbClr val="FF0000"/>
                </a:solidFill>
              </a:rPr>
              <a:t>разделов по первым трем  и последней темам, на наш взгляд, </a:t>
            </a:r>
            <a:r>
              <a:rPr lang="en-US" b="1" u="sng" dirty="0" err="1" smtClean="0">
                <a:solidFill>
                  <a:srgbClr val="FF0000"/>
                </a:solidFill>
              </a:rPr>
              <a:t>DIWEcon</a:t>
            </a:r>
            <a:r>
              <a:rPr lang="ru-RU" b="1" u="sng" dirty="0" smtClean="0">
                <a:solidFill>
                  <a:srgbClr val="FF0000"/>
                </a:solidFill>
              </a:rPr>
              <a:t> хорошо справился</a:t>
            </a:r>
            <a:r>
              <a:rPr lang="ru-RU" b="0" u="none" dirty="0" smtClean="0">
                <a:solidFill>
                  <a:srgbClr val="FF0000"/>
                </a:solidFill>
              </a:rPr>
              <a:t>. </a:t>
            </a:r>
            <a:r>
              <a:rPr lang="ru-RU" b="0" dirty="0" smtClean="0"/>
              <a:t>Они включены</a:t>
            </a:r>
            <a:r>
              <a:rPr lang="ru-RU" b="0" baseline="0" dirty="0" smtClean="0"/>
              <a:t> в </a:t>
            </a:r>
            <a:r>
              <a:rPr lang="en-US" b="0" baseline="0" dirty="0" smtClean="0"/>
              <a:t>Narrative Report</a:t>
            </a:r>
            <a:r>
              <a:rPr lang="ru-RU" b="0" baseline="0" dirty="0" smtClean="0"/>
              <a:t> (первый </a:t>
            </a:r>
            <a:r>
              <a:rPr lang="ru-RU" b="0" baseline="0" dirty="0" err="1" smtClean="0"/>
              <a:t>драфт</a:t>
            </a:r>
            <a:r>
              <a:rPr lang="ru-RU" b="0" baseline="0" dirty="0" smtClean="0"/>
              <a:t> СНУР «Отчет о целях и путях трансформации», </a:t>
            </a:r>
            <a:r>
              <a:rPr lang="ru-RU" b="0" baseline="0" dirty="0" err="1" smtClean="0"/>
              <a:t>DIWEcon</a:t>
            </a:r>
            <a:r>
              <a:rPr lang="ru-RU" b="0" baseline="0" dirty="0" smtClean="0"/>
              <a:t>, см. стр. 6-27 и 100-102).</a:t>
            </a:r>
            <a:r>
              <a:rPr lang="ru-RU" b="1" dirty="0" smtClean="0"/>
              <a:t> Кратко и весьма внятно описана </a:t>
            </a:r>
            <a:r>
              <a:rPr lang="ru-RU" b="1" baseline="0" dirty="0" smtClean="0"/>
              <a:t>международная климатическая политика и ее влияние на национальные экономики. Трансформируются национальные энергосистемы по всему миру</a:t>
            </a:r>
            <a:r>
              <a:rPr lang="ru-RU" baseline="0" dirty="0" smtClean="0"/>
              <a:t>, </a:t>
            </a:r>
            <a:r>
              <a:rPr lang="ru-RU" b="1" baseline="0" dirty="0" smtClean="0"/>
              <a:t>стандарты энергопотребления. </a:t>
            </a:r>
            <a:r>
              <a:rPr lang="ru-RU" b="0" baseline="0" dirty="0" smtClean="0"/>
              <a:t>И </a:t>
            </a:r>
            <a:r>
              <a:rPr lang="ru-RU" baseline="0" dirty="0" smtClean="0"/>
              <a:t>самое главное, международная климатическая политика начала влиять на </a:t>
            </a:r>
            <a:r>
              <a:rPr lang="ru-RU" b="1" baseline="0" dirty="0" smtClean="0"/>
              <a:t>условия международной торговли </a:t>
            </a:r>
            <a:r>
              <a:rPr lang="ru-RU" b="0" baseline="0" dirty="0" smtClean="0"/>
              <a:t>(ожидается введение в ЕС пограничного углеродного налога). </a:t>
            </a:r>
            <a:r>
              <a:rPr lang="ru-RU" baseline="0" dirty="0" smtClean="0"/>
              <a:t>Наблюдается устойчивая глобальная </a:t>
            </a:r>
            <a:r>
              <a:rPr lang="ru-RU" b="1" baseline="0" dirty="0" smtClean="0"/>
              <a:t>тенденция декарбонизации международных производственно-сбытовых цепочек</a:t>
            </a:r>
            <a:r>
              <a:rPr lang="ru-RU" baseline="0" dirty="0" smtClean="0"/>
              <a:t>, что должно быть принято во внимание Правительства Казахстана, поскольку рост ВВП в основном обеспечивается экспортом углеводородов и энергоемкой сырьевой продукции (чистых металлов). </a:t>
            </a:r>
          </a:p>
          <a:p>
            <a:pPr marL="0" indent="0">
              <a:buNone/>
            </a:pPr>
            <a:endParaRPr lang="ru-RU" baseline="0" dirty="0" smtClean="0"/>
          </a:p>
          <a:p>
            <a:pPr marL="0" indent="0">
              <a:buNone/>
            </a:pPr>
            <a:r>
              <a:rPr lang="ru-RU" baseline="0" dirty="0" smtClean="0"/>
              <a:t>При этом экономика зависит от импорта технологического оборудования и прочих товаров с высокой добавленной стоимостью, что при резких девальвациях национальной валюты существенно ухудшают экономическое положение в стране. </a:t>
            </a:r>
          </a:p>
          <a:p>
            <a:pPr marL="0" indent="0">
              <a:buNone/>
            </a:pPr>
            <a:endParaRPr lang="ru-RU" baseline="0" dirty="0" smtClean="0"/>
          </a:p>
          <a:p>
            <a:pPr marL="0" indent="0">
              <a:buNone/>
            </a:pPr>
            <a:r>
              <a:rPr lang="ru-RU" baseline="0" dirty="0" smtClean="0"/>
              <a:t>Казахстан вложил много собственных ресурсов в развитие своего транзитного транспортно-логистического потенциала в рамках нового Шелкового пути. </a:t>
            </a:r>
            <a:r>
              <a:rPr lang="ru-RU" baseline="0" dirty="0" err="1" smtClean="0"/>
              <a:t>Декарбонизируя</a:t>
            </a:r>
            <a:r>
              <a:rPr lang="ru-RU" baseline="0" dirty="0" smtClean="0"/>
              <a:t> транспортный сектор, Казахстан может получить отличные шансы встроиться в новые глобальные </a:t>
            </a:r>
            <a:r>
              <a:rPr lang="ru-RU" baseline="0" dirty="0" err="1" smtClean="0"/>
              <a:t>низкоуглеродные</a:t>
            </a:r>
            <a:r>
              <a:rPr lang="ru-RU" baseline="0" dirty="0" smtClean="0"/>
              <a:t> производственно-сбытовые цепочки. Таким образом, </a:t>
            </a:r>
            <a:r>
              <a:rPr lang="ru-RU" b="1" baseline="0" dirty="0" smtClean="0"/>
              <a:t>наряду с растущими вызовами (рисками) международной климатической политики появляются и новые возможности для Казахстана.</a:t>
            </a:r>
          </a:p>
          <a:p>
            <a:pPr marL="0" indent="0">
              <a:buNone/>
            </a:pPr>
            <a:r>
              <a:rPr lang="ru-RU" b="0" baseline="0" dirty="0" smtClean="0"/>
              <a:t>Также </a:t>
            </a:r>
            <a:r>
              <a:rPr lang="ru-RU" b="1" i="0" u="sng" baseline="0" dirty="0" smtClean="0"/>
              <a:t>сделан задел для раскрытия четвертой темы</a:t>
            </a:r>
            <a:r>
              <a:rPr lang="ru-RU" b="0" baseline="0" dirty="0" smtClean="0"/>
              <a:t>, в части анализа выбросов и описания предложенных для обсуждения всеми </a:t>
            </a:r>
            <a:r>
              <a:rPr lang="ru-RU" b="0" baseline="0" dirty="0" err="1" smtClean="0"/>
              <a:t>стейкхолдерами</a:t>
            </a:r>
            <a:r>
              <a:rPr lang="ru-RU" b="0" baseline="0" dirty="0" smtClean="0"/>
              <a:t> сценариев НУР экономики Казахстана. </a:t>
            </a:r>
            <a:r>
              <a:rPr lang="ru-RU" b="1" i="0" u="sng" baseline="0" dirty="0" smtClean="0"/>
              <a:t>Этот и все остальные разделы</a:t>
            </a:r>
            <a:r>
              <a:rPr lang="ru-RU" b="0" baseline="0" dirty="0" smtClean="0"/>
              <a:t> должны быть написаны после (1) получения результатов эмпирических исследований согласованных сценариев (с помощью построенных моделей), (2) их обсуждения со всеми </a:t>
            </a:r>
            <a:r>
              <a:rPr lang="ru-RU" b="0" baseline="0" dirty="0" err="1" smtClean="0"/>
              <a:t>стейкхолдерами</a:t>
            </a:r>
            <a:r>
              <a:rPr lang="ru-RU" b="0" baseline="0" dirty="0" smtClean="0"/>
              <a:t> и согласования отраслевых и национальных целей снижения выбросов и путей их достижения.</a:t>
            </a:r>
            <a:endParaRPr lang="ru-RU" b="0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7441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53543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опросы взяты из </a:t>
            </a:r>
            <a:r>
              <a:rPr lang="en-US" dirty="0" err="1" smtClean="0"/>
              <a:t>ToR</a:t>
            </a:r>
            <a:r>
              <a:rPr lang="en-US" dirty="0" smtClean="0"/>
              <a:t> «</a:t>
            </a:r>
            <a:r>
              <a:rPr lang="en-US" dirty="0" err="1" smtClean="0"/>
              <a:t>Modelling</a:t>
            </a:r>
            <a:r>
              <a:rPr lang="en-US" dirty="0" smtClean="0"/>
              <a:t> economic, environmental and social impacts of low carbon economic development in Kazakhstan» </a:t>
            </a:r>
            <a:r>
              <a:rPr lang="ru-RU" dirty="0" smtClean="0"/>
              <a:t>и немного адаптированы для понимания постановки вопросо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320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53 страны,</a:t>
            </a:r>
            <a:r>
              <a:rPr lang="ru-RU" baseline="0" dirty="0" smtClean="0"/>
              <a:t> в числе которых сейчас Казахстан, заботятся о процветающем будущем</a:t>
            </a:r>
            <a:r>
              <a:rPr lang="ru-RU" dirty="0" smtClean="0"/>
              <a:t>. Положительный </a:t>
            </a:r>
            <a:r>
              <a:rPr lang="ru-RU" dirty="0" err="1" smtClean="0"/>
              <a:t>климатоориентированный</a:t>
            </a:r>
            <a:r>
              <a:rPr lang="ru-RU" baseline="0" dirty="0" smtClean="0"/>
              <a:t> имидж поможет Казахстану в </a:t>
            </a:r>
            <a:r>
              <a:rPr lang="ru-RU" b="1" baseline="0" dirty="0" smtClean="0"/>
              <a:t>ожесточающейся</a:t>
            </a:r>
            <a:r>
              <a:rPr lang="ru-RU" baseline="0" dirty="0" smtClean="0"/>
              <a:t> конкурентной борьбе стран за привлечение инвестиций на развитие, в том числе прямых иностранных инвестиций и международных «зеленых финансов». Следует отметить мировую тенденцию бегства капитала из </a:t>
            </a:r>
            <a:r>
              <a:rPr lang="ru-RU" baseline="0" dirty="0" err="1" smtClean="0"/>
              <a:t>углеродоемких</a:t>
            </a:r>
            <a:r>
              <a:rPr lang="ru-RU" baseline="0" dirty="0" smtClean="0"/>
              <a:t> секторов. </a:t>
            </a:r>
            <a:r>
              <a:rPr lang="ru-RU" b="1" u="sng" baseline="0" dirty="0" smtClean="0"/>
              <a:t>Огромные потоки инвестиций, вложенные в энергоемкие и </a:t>
            </a:r>
            <a:r>
              <a:rPr lang="ru-RU" b="1" u="sng" baseline="0" dirty="0" err="1" smtClean="0"/>
              <a:t>углеродоемкие</a:t>
            </a:r>
            <a:r>
              <a:rPr lang="ru-RU" b="1" u="sng" baseline="0" dirty="0" smtClean="0"/>
              <a:t> проекты в Казахстане, рискуют превратиться в неактивные «застрявшие активы» в среднесрочной перспективе</a:t>
            </a:r>
            <a:r>
              <a:rPr lang="ru-RU" b="1" baseline="0" dirty="0" smtClean="0"/>
              <a:t>. </a:t>
            </a:r>
            <a:r>
              <a:rPr lang="ru-RU" dirty="0" smtClean="0"/>
              <a:t>Поскольку условия международной торговли кардинально меняются. Импортная </a:t>
            </a:r>
            <a:r>
              <a:rPr lang="ru-RU" dirty="0" err="1" smtClean="0"/>
              <a:t>углеродоемкая</a:t>
            </a:r>
            <a:r>
              <a:rPr lang="ru-RU" dirty="0" smtClean="0"/>
              <a:t> продукция будет облагаться на границе развитых стран корректирующим углеродным налогом в зависимости от углеродоемкости. Как утверждают международные консультанты </a:t>
            </a:r>
            <a:r>
              <a:rPr lang="en-US" dirty="0" err="1" smtClean="0"/>
              <a:t>DIWEcon</a:t>
            </a:r>
            <a:r>
              <a:rPr lang="ru-RU" dirty="0" smtClean="0"/>
              <a:t>, будут меняться правила ВТО</a:t>
            </a:r>
            <a:r>
              <a:rPr lang="ru-RU" b="0" dirty="0" smtClean="0"/>
              <a:t>.</a:t>
            </a:r>
            <a:r>
              <a:rPr lang="ru-RU" b="0" baseline="0" dirty="0" smtClean="0"/>
              <a:t> Международный консультант проекта уверенно заявляет, что </a:t>
            </a:r>
            <a:r>
              <a:rPr lang="ru-RU" b="1" dirty="0" smtClean="0"/>
              <a:t>политическое бездействие </a:t>
            </a:r>
            <a:r>
              <a:rPr lang="ru-RU" dirty="0" smtClean="0"/>
              <a:t>Правительства</a:t>
            </a:r>
            <a:r>
              <a:rPr lang="ru-RU" baseline="0" dirty="0" smtClean="0"/>
              <a:t> </a:t>
            </a:r>
            <a:r>
              <a:rPr lang="ru-RU" dirty="0" smtClean="0"/>
              <a:t>в отношении декарбонизации экономики угрожает благополучию Казахстана. Изменения условий</a:t>
            </a:r>
            <a:r>
              <a:rPr lang="ru-RU" baseline="0" dirty="0" smtClean="0"/>
              <a:t> международной торговли</a:t>
            </a:r>
            <a:r>
              <a:rPr lang="ru-RU" dirty="0" smtClean="0"/>
              <a:t> </a:t>
            </a:r>
            <a:r>
              <a:rPr lang="ru-RU" b="1" dirty="0" smtClean="0"/>
              <a:t>приведут</a:t>
            </a:r>
            <a:r>
              <a:rPr lang="ru-RU" dirty="0" smtClean="0"/>
              <a:t> (1) </a:t>
            </a:r>
            <a:r>
              <a:rPr lang="ru-RU" b="1" dirty="0" smtClean="0"/>
              <a:t>к потере рыночных ниш на международных рынках</a:t>
            </a:r>
            <a:r>
              <a:rPr lang="ru-RU" dirty="0" smtClean="0"/>
              <a:t>, соответственно (2) к сокращению доходов</a:t>
            </a:r>
            <a:r>
              <a:rPr lang="ru-RU" baseline="0" dirty="0" smtClean="0"/>
              <a:t> </a:t>
            </a:r>
            <a:r>
              <a:rPr lang="ru-RU" dirty="0" smtClean="0"/>
              <a:t>экспортоориентированных компаний, (3) к сокращению доходов бюджета. Это в свою очередь повлечет (4) сокращение расходов бюджета на образование, здравоохранение, развитие инфраструктуры, сельского хозяйства и т.д., (5) сокращение доходов домохозяйств и, наконец, (6) к экономическому кризису в стране и угрозе безопасности</a:t>
            </a:r>
            <a:r>
              <a:rPr lang="ru-RU" baseline="0" dirty="0" smtClean="0"/>
              <a:t> в целом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0424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ак</a:t>
            </a:r>
            <a:r>
              <a:rPr lang="ru-RU" baseline="0" dirty="0" smtClean="0"/>
              <a:t> было выше отмечено, </a:t>
            </a:r>
            <a:r>
              <a:rPr lang="en-US" baseline="0" dirty="0" smtClean="0"/>
              <a:t>GIZ</a:t>
            </a:r>
            <a:r>
              <a:rPr lang="ru-RU" baseline="0" dirty="0" smtClean="0"/>
              <a:t> при разработке СНУР в Казахстане руководствуется наилучшими международными практиками. А также помогает разрабатывать СНУР правительствам еще 19 стран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В самой Германии разработка национальной СНУР сопровождается не только моделированием множества сценариев и политик декарбонизации разными научными коллективами и последующими долгими и бурными обсуждениями среди ученых с участием в этих дискуссиях иностранных экспертов, представителей власти, компаний, общественных организаций и журналистов, но также бурные обсуждения проходят в каждом субъекте федерации. В местных обсуждениях и принятии решений, касающихся справедливого перехода к </a:t>
            </a:r>
            <a:r>
              <a:rPr lang="ru-RU" baseline="0" dirty="0" err="1" smtClean="0"/>
              <a:t>низкоуглеродному</a:t>
            </a:r>
            <a:r>
              <a:rPr lang="ru-RU" baseline="0" dirty="0" smtClean="0"/>
              <a:t> будущему, принимает участие все общество, включая предпринимателей (малый и крупный бизнес), экспертов и население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9402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Формы взаимодействия со </a:t>
            </a:r>
            <a:r>
              <a:rPr lang="ru-RU" dirty="0" err="1" smtClean="0"/>
              <a:t>стейкхолдерами</a:t>
            </a:r>
            <a:r>
              <a:rPr lang="ru-RU" dirty="0" smtClean="0"/>
              <a:t> – самые разные. Это – двусторонние официальные встречи, звонки, проведение опросов всех категорий заинтересованных сторон, секторальные консультации и семинары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>
                <a:solidFill>
                  <a:prstClr val="black"/>
                </a:solidFill>
              </a:rPr>
              <a:pPr/>
              <a:t>1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6199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На этом и последующих слайдах, можно увидеть Диаграммы причинно-следственных</a:t>
            </a:r>
            <a:r>
              <a:rPr lang="ru-RU" baseline="0" dirty="0" smtClean="0"/>
              <a:t> зависимостей и взаимосвязей показателей, факторов, политик и мер </a:t>
            </a:r>
            <a:r>
              <a:rPr lang="ru-RU" dirty="0" smtClean="0"/>
              <a:t>(</a:t>
            </a:r>
            <a:r>
              <a:rPr lang="ru-RU" dirty="0" err="1" smtClean="0"/>
              <a:t>Causal</a:t>
            </a:r>
            <a:r>
              <a:rPr lang="ru-RU" dirty="0" smtClean="0"/>
              <a:t> </a:t>
            </a:r>
            <a:r>
              <a:rPr lang="ru-RU" dirty="0" err="1" smtClean="0"/>
              <a:t>Loop</a:t>
            </a:r>
            <a:r>
              <a:rPr lang="ru-RU" dirty="0" smtClean="0"/>
              <a:t> </a:t>
            </a:r>
            <a:r>
              <a:rPr lang="ru-RU" dirty="0" err="1" smtClean="0"/>
              <a:t>Diagram</a:t>
            </a:r>
            <a:r>
              <a:rPr lang="ru-RU" dirty="0" smtClean="0"/>
              <a:t>, CLD) для 4 секторов (</a:t>
            </a:r>
            <a:r>
              <a:rPr lang="ru-RU" baseline="0" dirty="0" smtClean="0"/>
              <a:t>аграрного сектора, отопления жилых зданий, угледобывающей промышленности и автотранспорта</a:t>
            </a:r>
            <a:r>
              <a:rPr lang="ru-RU" dirty="0" smtClean="0"/>
              <a:t>), построенные 6-7 марта совместно с</a:t>
            </a:r>
            <a:r>
              <a:rPr lang="ru-RU" baseline="0" dirty="0" smtClean="0"/>
              <a:t> участниками</a:t>
            </a:r>
            <a:r>
              <a:rPr lang="ru-RU" dirty="0" smtClean="0"/>
              <a:t> отраслевых</a:t>
            </a:r>
            <a:r>
              <a:rPr lang="ru-RU" baseline="0" dirty="0" smtClean="0"/>
              <a:t> консультационных совещаний. Построенные </a:t>
            </a:r>
            <a:r>
              <a:rPr lang="en-US" dirty="0" smtClean="0"/>
              <a:t>CLD</a:t>
            </a:r>
            <a:r>
              <a:rPr lang="ru-RU" dirty="0" smtClean="0"/>
              <a:t> </a:t>
            </a:r>
            <a:r>
              <a:rPr lang="ru-RU" baseline="0" dirty="0" smtClean="0"/>
              <a:t>лягут в основу моделирования </a:t>
            </a:r>
            <a:r>
              <a:rPr lang="en-US" baseline="0" dirty="0" smtClean="0"/>
              <a:t>SD</a:t>
            </a:r>
            <a:r>
              <a:rPr lang="ru-RU" baseline="0" dirty="0" smtClean="0"/>
              <a:t>, что важно для </a:t>
            </a:r>
            <a:r>
              <a:rPr lang="ru-RU" dirty="0" smtClean="0"/>
              <a:t>последующего системного анализа</a:t>
            </a:r>
            <a:r>
              <a:rPr lang="ru-RU" baseline="0" dirty="0" smtClean="0"/>
              <a:t>. Это важно </a:t>
            </a:r>
            <a:r>
              <a:rPr lang="ru-RU" dirty="0" smtClean="0"/>
              <a:t>для разработки СНУР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 подходе </a:t>
            </a:r>
            <a:r>
              <a:rPr lang="ru-RU" dirty="0" err="1" smtClean="0"/>
              <a:t>System</a:t>
            </a:r>
            <a:r>
              <a:rPr lang="ru-RU" dirty="0" smtClean="0"/>
              <a:t> </a:t>
            </a:r>
            <a:r>
              <a:rPr lang="ru-RU" dirty="0" err="1" smtClean="0"/>
              <a:t>Dynamics</a:t>
            </a:r>
            <a:r>
              <a:rPr lang="ru-RU" dirty="0" smtClean="0"/>
              <a:t> можно почитать в разделе 4.3 (стр. 49-52) первого </a:t>
            </a:r>
            <a:r>
              <a:rPr lang="ru-RU" dirty="0" err="1" smtClean="0"/>
              <a:t>драфта</a:t>
            </a:r>
            <a:r>
              <a:rPr lang="ru-RU" dirty="0" smtClean="0"/>
              <a:t> СНУР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F881B-AD5C-493E-968A-DC2CAE66850C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4196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1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3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7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8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9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3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0.jpg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openxmlformats.org/officeDocument/2006/relationships/image" Target="../media/image8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8.jpg"/><Relationship Id="rId4" Type="http://schemas.openxmlformats.org/officeDocument/2006/relationships/image" Target="../media/image3.png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8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pn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1.xml"/><Relationship Id="rId5" Type="http://schemas.microsoft.com/office/2007/relationships/hdphoto" Target="../media/hdphoto3.wdp"/><Relationship Id="rId4" Type="http://schemas.openxmlformats.org/officeDocument/2006/relationships/image" Target="../media/image13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jpg"/><Relationship Id="rId4" Type="http://schemas.openxmlformats.org/officeDocument/2006/relationships/image" Target="../media/image3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Relationship Id="rId5" Type="http://schemas.microsoft.com/office/2007/relationships/hdphoto" Target="../media/hdphoto3.wdp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540603412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2052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82042782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großes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3348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427040528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Sub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949621173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83999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240073982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s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6849372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040400" y="3239023"/>
            <a:ext cx="70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 baseline="0"/>
            </a:lvl1pPr>
          </a:lstStyle>
          <a:p>
            <a:r>
              <a:rPr lang="de-DE" dirty="0"/>
              <a:t>Untertitel durch Klicken hinzufügen</a:t>
            </a:r>
          </a:p>
        </p:txBody>
      </p:sp>
      <p:sp>
        <p:nvSpPr>
          <p:cNvPr id="9" name="Rectangle 15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040400" y="1993727"/>
            <a:ext cx="7034400" cy="1143000"/>
          </a:xfrm>
        </p:spPr>
        <p:txBody>
          <a:bodyPr anchor="ctr"/>
          <a:lstStyle>
            <a:lvl1pPr algn="ctr">
              <a:defRPr sz="360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7721600" y="6604000"/>
            <a:ext cx="1422400" cy="25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196272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520" y="400690"/>
            <a:ext cx="7910148" cy="356591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en-US" dirty="0" err="1"/>
              <a:t>Folien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br>
              <a:rPr lang="en-US" dirty="0"/>
            </a:b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000000"/>
                </a:solidFill>
              </a:rPr>
              <a:t>Климатически нейтральная хозяйственная деятельность. Внедрение НДТ в РФ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2521" y="6165851"/>
            <a:ext cx="7910146" cy="21590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 b="0" baseline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defRPr sz="900" b="0"/>
            </a:lvl3pPr>
            <a:lvl4pPr>
              <a:defRPr sz="900" b="0"/>
            </a:lvl4pPr>
            <a:lvl5pPr>
              <a:defRPr sz="900" b="0"/>
            </a:lvl5pPr>
          </a:lstStyle>
          <a:p>
            <a:pPr lvl="0"/>
            <a:r>
              <a:rPr lang="en-US" dirty="0" err="1"/>
              <a:t>Quelle</a:t>
            </a:r>
            <a:r>
              <a:rPr lang="en-US" dirty="0"/>
              <a:t>, </a:t>
            </a:r>
            <a:r>
              <a:rPr lang="en-US" dirty="0" err="1"/>
              <a:t>Anmerkung</a:t>
            </a:r>
            <a:r>
              <a:rPr lang="en-US" dirty="0"/>
              <a:t>,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82521" y="715170"/>
            <a:ext cx="7910146" cy="553244"/>
          </a:xfrm>
        </p:spPr>
        <p:txBody>
          <a:bodyPr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202356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30013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6982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086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24514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53611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4000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70129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6610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268165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16091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52020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="" xmlns:a16="http://schemas.microsoft.com/office/drawing/2014/main" id="{F0E6115A-0138-4831-8CBC-F3B86D466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4660625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4519564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 descr="Ein Bild, das Kette enthält.&#10;&#10;Automatisch generierte Beschreibung">
            <a:extLst>
              <a:ext uri="{FF2B5EF4-FFF2-40B4-BE49-F238E27FC236}">
                <a16:creationId xmlns="" xmlns:a16="http://schemas.microsoft.com/office/drawing/2014/main" id="{82995FEF-F44E-4720-98FA-B2AE557B118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3" b="26747"/>
          <a:stretch/>
        </p:blipFill>
        <p:spPr bwMode="gray">
          <a:xfrm>
            <a:off x="123138" y="165102"/>
            <a:ext cx="8893865" cy="4721860"/>
          </a:xfrm>
          <a:prstGeom prst="rect">
            <a:avLst/>
          </a:prstGeom>
        </p:spPr>
      </p:pic>
      <p:pic>
        <p:nvPicPr>
          <p:cNvPr id="18" name="Grafik 17" descr="Ein Bild, das Säge enthält.&#10;&#10;Automatisch generierte Beschreibung">
            <a:extLst>
              <a:ext uri="{FF2B5EF4-FFF2-40B4-BE49-F238E27FC236}">
                <a16:creationId xmlns="" xmlns:a16="http://schemas.microsoft.com/office/drawing/2014/main" id="{57A5703D-6864-419D-AAFF-48396C4B22D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846876"/>
            <a:ext cx="8895600" cy="4040085"/>
          </a:xfrm>
          <a:prstGeom prst="rect">
            <a:avLst/>
          </a:prstGeom>
        </p:spPr>
      </p:pic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51" y="2782265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/ </a:t>
            </a:r>
            <a:r>
              <a:rPr lang="de-DE" noProof="0" dirty="0"/>
              <a:t>Headline</a:t>
            </a:r>
            <a:br>
              <a:rPr lang="de-DE" noProof="0" dirty="0"/>
            </a:br>
            <a:r>
              <a:rPr lang="de-DE" noProof="0" dirty="0"/>
              <a:t>mit farbigem GIZ Key Visual</a:t>
            </a:r>
            <a:endParaRPr lang="de-DE" dirty="0"/>
          </a:p>
        </p:txBody>
      </p:sp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  </a:t>
            </a:r>
          </a:p>
        </p:txBody>
      </p:sp>
      <p:pic>
        <p:nvPicPr>
          <p:cNvPr id="10" name="logo">
            <a:extLst>
              <a:ext uri="{FF2B5EF4-FFF2-40B4-BE49-F238E27FC236}">
                <a16:creationId xmlns="" xmlns:a16="http://schemas.microsoft.com/office/drawing/2014/main" id="{BB915B2F-F90E-4740-9ADA-291A0E63BD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3" name="Bar">
            <a:extLst>
              <a:ext uri="{FF2B5EF4-FFF2-40B4-BE49-F238E27FC236}">
                <a16:creationId xmlns="" xmlns:a16="http://schemas.microsoft.com/office/drawing/2014/main" id="{BD21318B-3022-42D5-AB5E-3CB62091D006}"/>
              </a:ext>
            </a:extLst>
          </p:cNvPr>
          <p:cNvSpPr/>
          <p:nvPr userDrawn="1"/>
        </p:nvSpPr>
        <p:spPr bwMode="gray">
          <a:xfrm>
            <a:off x="5369092" y="4886961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247109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39311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40539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1898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06946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22201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1255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223401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30345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30113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1387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/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="" xmlns:a16="http://schemas.microsoft.com/office/drawing/2014/main" id="{FF0DB5C6-9E74-4378-9827-68473EFA35F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3" b="26747"/>
          <a:stretch/>
        </p:blipFill>
        <p:spPr bwMode="gray">
          <a:xfrm>
            <a:off x="123138" y="165100"/>
            <a:ext cx="8893865" cy="4721861"/>
          </a:xfrm>
          <a:prstGeom prst="rect">
            <a:avLst/>
          </a:prstGeom>
        </p:spPr>
      </p:pic>
      <p:pic>
        <p:nvPicPr>
          <p:cNvPr id="15" name="Grafik 14" descr="Ein Bild, das Säge enthält.&#10;&#10;Automatisch generierte Beschreibung">
            <a:extLst>
              <a:ext uri="{FF2B5EF4-FFF2-40B4-BE49-F238E27FC236}">
                <a16:creationId xmlns="" xmlns:a16="http://schemas.microsoft.com/office/drawing/2014/main" id="{31687CA2-4830-4EA3-B6BE-4D04E1B8363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846876"/>
            <a:ext cx="8895600" cy="4040085"/>
          </a:xfrm>
          <a:prstGeom prst="rect">
            <a:avLst/>
          </a:prstGeom>
        </p:spPr>
      </p:pic>
      <p:pic>
        <p:nvPicPr>
          <p:cNvPr id="10" name="logo">
            <a:extLst>
              <a:ext uri="{FF2B5EF4-FFF2-40B4-BE49-F238E27FC236}">
                <a16:creationId xmlns="" xmlns:a16="http://schemas.microsoft.com/office/drawing/2014/main" id="{5020DAB1-6624-4F6F-85BE-D8BE78A1A57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3" name="Bar">
            <a:extLst>
              <a:ext uri="{FF2B5EF4-FFF2-40B4-BE49-F238E27FC236}">
                <a16:creationId xmlns="" xmlns:a16="http://schemas.microsoft.com/office/drawing/2014/main" id="{8C59F0BE-E094-4F6F-B663-07A571A19A62}"/>
              </a:ext>
            </a:extLst>
          </p:cNvPr>
          <p:cNvSpPr/>
          <p:nvPr userDrawn="1"/>
        </p:nvSpPr>
        <p:spPr bwMode="gray">
          <a:xfrm>
            <a:off x="5369092" y="4886961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</a:t>
            </a:r>
          </a:p>
        </p:txBody>
      </p:sp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51" y="2782265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/ Headline</a:t>
            </a:r>
            <a:br>
              <a:rPr lang="de-DE" dirty="0"/>
            </a:br>
            <a:r>
              <a:rPr lang="de-DE" dirty="0"/>
              <a:t>mit s/w GIZ Key Visual</a:t>
            </a:r>
          </a:p>
        </p:txBody>
      </p:sp>
    </p:spTree>
    <p:extLst>
      <p:ext uri="{BB962C8B-B14F-4D97-AF65-F5344CB8AC3E}">
        <p14:creationId xmlns:p14="http://schemas.microsoft.com/office/powerpoint/2010/main" val="491309019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82349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="" xmlns:a16="http://schemas.microsoft.com/office/drawing/2014/main" id="{F0E6115A-0138-4831-8CBC-F3B86D466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4660625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90635607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 descr="Ein Bild, das Kette enthält.&#10;&#10;Automatisch generierte Beschreibung">
            <a:extLst>
              <a:ext uri="{FF2B5EF4-FFF2-40B4-BE49-F238E27FC236}">
                <a16:creationId xmlns:a16="http://schemas.microsoft.com/office/drawing/2014/main" xmlns="" id="{82995FEF-F44E-4720-98FA-B2AE557B118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3" b="26747"/>
          <a:stretch/>
        </p:blipFill>
        <p:spPr bwMode="gray">
          <a:xfrm>
            <a:off x="123136" y="165101"/>
            <a:ext cx="8893865" cy="4721860"/>
          </a:xfrm>
          <a:prstGeom prst="rect">
            <a:avLst/>
          </a:prstGeom>
        </p:spPr>
      </p:pic>
      <p:pic>
        <p:nvPicPr>
          <p:cNvPr id="18" name="Grafik 17" descr="Ein Bild, das Säge enthält.&#10;&#10;Automatisch generierte Beschreibung">
            <a:extLst>
              <a:ext uri="{FF2B5EF4-FFF2-40B4-BE49-F238E27FC236}">
                <a16:creationId xmlns:a16="http://schemas.microsoft.com/office/drawing/2014/main" xmlns="" id="{57A5703D-6864-419D-AAFF-48396C4B22D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846875"/>
            <a:ext cx="8895600" cy="4040085"/>
          </a:xfrm>
          <a:prstGeom prst="rect">
            <a:avLst/>
          </a:prstGeom>
        </p:spPr>
      </p:pic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49" y="2782264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/ </a:t>
            </a:r>
            <a:r>
              <a:rPr lang="de-DE" noProof="0" dirty="0"/>
              <a:t>Headline</a:t>
            </a:r>
            <a:br>
              <a:rPr lang="de-DE" noProof="0" dirty="0"/>
            </a:br>
            <a:r>
              <a:rPr lang="de-DE" noProof="0" dirty="0"/>
              <a:t>mit farbigem GIZ Key Visual</a:t>
            </a:r>
            <a:endParaRPr lang="de-DE" dirty="0"/>
          </a:p>
        </p:txBody>
      </p:sp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  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xmlns="" id="{BB915B2F-F90E-4740-9ADA-291A0E63BDE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3" name="Bar">
            <a:extLst>
              <a:ext uri="{FF2B5EF4-FFF2-40B4-BE49-F238E27FC236}">
                <a16:creationId xmlns:a16="http://schemas.microsoft.com/office/drawing/2014/main" xmlns="" id="{BD21318B-3022-42D5-AB5E-3CB62091D006}"/>
              </a:ext>
            </a:extLst>
          </p:cNvPr>
          <p:cNvSpPr/>
          <p:nvPr userDrawn="1"/>
        </p:nvSpPr>
        <p:spPr bwMode="gray">
          <a:xfrm>
            <a:off x="5369092" y="4886960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03167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/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xmlns="" id="{FF0DB5C6-9E74-4378-9827-68473EFA35F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3" b="26747"/>
          <a:stretch/>
        </p:blipFill>
        <p:spPr bwMode="gray">
          <a:xfrm>
            <a:off x="123136" y="165100"/>
            <a:ext cx="8893865" cy="4721861"/>
          </a:xfrm>
          <a:prstGeom prst="rect">
            <a:avLst/>
          </a:prstGeom>
        </p:spPr>
      </p:pic>
      <p:pic>
        <p:nvPicPr>
          <p:cNvPr id="15" name="Grafik 14" descr="Ein Bild, das Säge enthält.&#10;&#10;Automatisch generierte Beschreibung">
            <a:extLst>
              <a:ext uri="{FF2B5EF4-FFF2-40B4-BE49-F238E27FC236}">
                <a16:creationId xmlns:a16="http://schemas.microsoft.com/office/drawing/2014/main" xmlns="" id="{31687CA2-4830-4EA3-B6BE-4D04E1B8363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846875"/>
            <a:ext cx="8895600" cy="4040085"/>
          </a:xfrm>
          <a:prstGeom prst="rect">
            <a:avLst/>
          </a:prstGeom>
        </p:spPr>
      </p:pic>
      <p:pic>
        <p:nvPicPr>
          <p:cNvPr id="10" name="logo">
            <a:extLst>
              <a:ext uri="{FF2B5EF4-FFF2-40B4-BE49-F238E27FC236}">
                <a16:creationId xmlns:a16="http://schemas.microsoft.com/office/drawing/2014/main" xmlns="" id="{5020DAB1-6624-4F6F-85BE-D8BE78A1A57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3" name="Bar">
            <a:extLst>
              <a:ext uri="{FF2B5EF4-FFF2-40B4-BE49-F238E27FC236}">
                <a16:creationId xmlns:a16="http://schemas.microsoft.com/office/drawing/2014/main" xmlns="" id="{8C59F0BE-E094-4F6F-B663-07A571A19A62}"/>
              </a:ext>
            </a:extLst>
          </p:cNvPr>
          <p:cNvSpPr/>
          <p:nvPr userDrawn="1"/>
        </p:nvSpPr>
        <p:spPr bwMode="gray">
          <a:xfrm>
            <a:off x="5369092" y="4886960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</a:t>
            </a:r>
          </a:p>
        </p:txBody>
      </p:sp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49" y="2782264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/ Headline</a:t>
            </a:r>
            <a:br>
              <a:rPr lang="de-DE" dirty="0"/>
            </a:br>
            <a:r>
              <a:rPr lang="de-DE" dirty="0"/>
              <a:t>mit s/w GIZ Key Visual</a:t>
            </a:r>
          </a:p>
        </p:txBody>
      </p:sp>
    </p:spTree>
    <p:extLst>
      <p:ext uri="{BB962C8B-B14F-4D97-AF65-F5344CB8AC3E}">
        <p14:creationId xmlns:p14="http://schemas.microsoft.com/office/powerpoint/2010/main" val="3876542229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">
            <a:extLst>
              <a:ext uri="{FF2B5EF4-FFF2-40B4-BE49-F238E27FC236}">
                <a16:creationId xmlns:a16="http://schemas.microsoft.com/office/drawing/2014/main" xmlns="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6" y="165101"/>
            <a:ext cx="8893865" cy="4721860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3" name="1.">
            <a:extLst>
              <a:ext uri="{FF2B5EF4-FFF2-40B4-BE49-F238E27FC236}">
                <a16:creationId xmlns:a16="http://schemas.microsoft.com/office/drawing/2014/main" xmlns="" id="{6C4143CA-4DB1-41D8-8702-2CD00961FDB5}"/>
              </a:ext>
            </a:extLst>
          </p:cNvPr>
          <p:cNvSpPr/>
          <p:nvPr userDrawn="1"/>
        </p:nvSpPr>
        <p:spPr bwMode="gray">
          <a:xfrm>
            <a:off x="4092743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:a16="http://schemas.microsoft.com/office/drawing/2014/main" xmlns="" id="{8F222F02-A2DC-42E9-84D4-4ACEFEE70A4D}"/>
              </a:ext>
            </a:extLst>
          </p:cNvPr>
          <p:cNvSpPr/>
          <p:nvPr userDrawn="1"/>
        </p:nvSpPr>
        <p:spPr bwMode="gray">
          <a:xfrm>
            <a:off x="5501863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:a16="http://schemas.microsoft.com/office/drawing/2014/main" xmlns="" id="{C15972D1-066C-49B6-94E5-4A7A0A3B2587}"/>
              </a:ext>
            </a:extLst>
          </p:cNvPr>
          <p:cNvSpPr/>
          <p:nvPr userDrawn="1"/>
        </p:nvSpPr>
        <p:spPr bwMode="gray">
          <a:xfrm>
            <a:off x="7427970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xmlns="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logo">
            <a:extLst>
              <a:ext uri="{FF2B5EF4-FFF2-40B4-BE49-F238E27FC236}">
                <a16:creationId xmlns:a16="http://schemas.microsoft.com/office/drawing/2014/main" xmlns="" id="{F8081F88-CBA8-4146-B984-924F5BAE43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7" name="Bar">
            <a:extLst>
              <a:ext uri="{FF2B5EF4-FFF2-40B4-BE49-F238E27FC236}">
                <a16:creationId xmlns:a16="http://schemas.microsoft.com/office/drawing/2014/main" xmlns="" id="{F01B0C4A-732E-4BC2-A2D7-A086E4E5403B}"/>
              </a:ext>
            </a:extLst>
          </p:cNvPr>
          <p:cNvSpPr/>
          <p:nvPr userDrawn="1"/>
        </p:nvSpPr>
        <p:spPr bwMode="gray">
          <a:xfrm>
            <a:off x="5369092" y="4886960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9" name="how">
            <a:extLst>
              <a:ext uri="{FF2B5EF4-FFF2-40B4-BE49-F238E27FC236}">
                <a16:creationId xmlns:a16="http://schemas.microsoft.com/office/drawing/2014/main" xmlns="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7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pic>
        <p:nvPicPr>
          <p:cNvPr id="7" name="Grafik 6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B2F80A22-ED8F-44E7-B2BE-85BF50D142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0723"/>
          <a:stretch/>
        </p:blipFill>
        <p:spPr>
          <a:xfrm>
            <a:off x="7454079" y="1136801"/>
            <a:ext cx="465722" cy="751359"/>
          </a:xfrm>
          <a:prstGeom prst="rect">
            <a:avLst/>
          </a:prstGeom>
        </p:spPr>
      </p:pic>
      <p:sp>
        <p:nvSpPr>
          <p:cNvPr id="10" name="Dreieck">
            <a:extLst>
              <a:ext uri="{FF2B5EF4-FFF2-40B4-BE49-F238E27FC236}">
                <a16:creationId xmlns:a16="http://schemas.microsoft.com/office/drawing/2014/main" xmlns="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5" name="Headline">
            <a:extLst>
              <a:ext uri="{FF2B5EF4-FFF2-40B4-BE49-F238E27FC236}">
                <a16:creationId xmlns:a16="http://schemas.microsoft.com/office/drawing/2014/main" xmlns="" id="{F8646EF2-FE73-41DC-B654-C5012A372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6" y="846875"/>
            <a:ext cx="8893865" cy="4040085"/>
          </a:xfrm>
          <a:prstGeom prst="rect">
            <a:avLst/>
          </a:prstGeom>
          <a:blipFill dpi="0" rotWithShape="1">
            <a:blip r:embed="rId5">
              <a:alphaModFix amt="80000"/>
            </a:blip>
            <a:srcRect/>
            <a:stretch>
              <a:fillRect l="-10" r="-10"/>
            </a:stretch>
          </a:blipFill>
        </p:spPr>
        <p:txBody>
          <a:bodyPr wrap="square" lIns="576000" bIns="1036800" anchor="b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/ Headline</a:t>
            </a:r>
            <a:br>
              <a:rPr lang="de-DE" dirty="0"/>
            </a:br>
            <a:r>
              <a:rPr lang="de-DE" dirty="0"/>
              <a:t>mit Hintergrundfoto (austauschbar)</a:t>
            </a:r>
          </a:p>
        </p:txBody>
      </p:sp>
      <p:pic>
        <p:nvPicPr>
          <p:cNvPr id="4" name="Grafik 3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E5595441-F987-46F7-B0FF-6162DB53F7E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589808" y="1136801"/>
            <a:ext cx="1584898" cy="751359"/>
          </a:xfrm>
          <a:prstGeom prst="rect">
            <a:avLst/>
          </a:prstGeom>
        </p:spPr>
      </p:pic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:a16="http://schemas.microsoft.com/office/drawing/2014/main" xmlns="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497023" y="1966807"/>
            <a:ext cx="1246909" cy="1147156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xmlns="" id="{D653919A-E7CD-4FC8-8C22-019673316FC4}"/>
              </a:ext>
            </a:extLst>
          </p:cNvPr>
          <p:cNvSpPr/>
          <p:nvPr userDrawn="1"/>
        </p:nvSpPr>
        <p:spPr bwMode="gray">
          <a:xfrm>
            <a:off x="6550856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:a16="http://schemas.microsoft.com/office/drawing/2014/main" xmlns="" id="{63D020A0-C673-400D-8D07-9B4444BF8D7C}"/>
              </a:ext>
            </a:extLst>
          </p:cNvPr>
          <p:cNvSpPr/>
          <p:nvPr userDrawn="1"/>
        </p:nvSpPr>
        <p:spPr bwMode="gray">
          <a:xfrm>
            <a:off x="7478457" y="1373457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634270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afik/Freistel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A5AD85A5-A6F8-4851-92FD-EA6609DAF6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0723"/>
          <a:stretch/>
        </p:blipFill>
        <p:spPr>
          <a:xfrm>
            <a:off x="7505658" y="1136801"/>
            <a:ext cx="465722" cy="751359"/>
          </a:xfrm>
          <a:prstGeom prst="rect">
            <a:avLst/>
          </a:prstGeom>
        </p:spPr>
      </p:pic>
      <p:pic>
        <p:nvPicPr>
          <p:cNvPr id="31" name="Grafik 30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4F0518D7-2DF0-4D50-B3EB-3D64E2485AB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89808" y="1136801"/>
            <a:ext cx="1584898" cy="751359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xmlns="" id="{3D8B1A33-9136-4498-A38F-1FAFEE6C912B}"/>
              </a:ext>
            </a:extLst>
          </p:cNvPr>
          <p:cNvSpPr/>
          <p:nvPr userDrawn="1"/>
        </p:nvSpPr>
        <p:spPr bwMode="gray">
          <a:xfrm>
            <a:off x="6550856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:a16="http://schemas.microsoft.com/office/drawing/2014/main" xmlns="" id="{13815075-80B4-4697-8852-2EC6A756D3E7}"/>
              </a:ext>
            </a:extLst>
          </p:cNvPr>
          <p:cNvSpPr/>
          <p:nvPr userDrawn="1"/>
        </p:nvSpPr>
        <p:spPr bwMode="gray">
          <a:xfrm>
            <a:off x="7530036" y="1373457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" name="1.">
            <a:extLst>
              <a:ext uri="{FF2B5EF4-FFF2-40B4-BE49-F238E27FC236}">
                <a16:creationId xmlns:a16="http://schemas.microsoft.com/office/drawing/2014/main" xmlns="" id="{6C4143CA-4DB1-41D8-8702-2CD00961FDB5}"/>
              </a:ext>
            </a:extLst>
          </p:cNvPr>
          <p:cNvSpPr/>
          <p:nvPr userDrawn="1"/>
        </p:nvSpPr>
        <p:spPr bwMode="gray">
          <a:xfrm>
            <a:off x="4092743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:a16="http://schemas.microsoft.com/office/drawing/2014/main" xmlns="" id="{8F222F02-A2DC-42E9-84D4-4ACEFEE70A4D}"/>
              </a:ext>
            </a:extLst>
          </p:cNvPr>
          <p:cNvSpPr/>
          <p:nvPr userDrawn="1"/>
        </p:nvSpPr>
        <p:spPr bwMode="gray">
          <a:xfrm>
            <a:off x="5501863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:a16="http://schemas.microsoft.com/office/drawing/2014/main" xmlns="" id="{C15972D1-066C-49B6-94E5-4A7A0A3B2587}"/>
              </a:ext>
            </a:extLst>
          </p:cNvPr>
          <p:cNvSpPr/>
          <p:nvPr userDrawn="1"/>
        </p:nvSpPr>
        <p:spPr bwMode="gray">
          <a:xfrm>
            <a:off x="7427970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xmlns="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logo">
            <a:extLst>
              <a:ext uri="{FF2B5EF4-FFF2-40B4-BE49-F238E27FC236}">
                <a16:creationId xmlns:a16="http://schemas.microsoft.com/office/drawing/2014/main" xmlns="" id="{F8081F88-CBA8-4146-B984-924F5BAE435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7" name="Bar">
            <a:extLst>
              <a:ext uri="{FF2B5EF4-FFF2-40B4-BE49-F238E27FC236}">
                <a16:creationId xmlns:a16="http://schemas.microsoft.com/office/drawing/2014/main" xmlns="" id="{F01B0C4A-732E-4BC2-A2D7-A086E4E5403B}"/>
              </a:ext>
            </a:extLst>
          </p:cNvPr>
          <p:cNvSpPr/>
          <p:nvPr userDrawn="1"/>
        </p:nvSpPr>
        <p:spPr bwMode="gray">
          <a:xfrm>
            <a:off x="5369092" y="4886960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9" name="how">
            <a:extLst>
              <a:ext uri="{FF2B5EF4-FFF2-40B4-BE49-F238E27FC236}">
                <a16:creationId xmlns:a16="http://schemas.microsoft.com/office/drawing/2014/main" xmlns="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7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sp>
        <p:nvSpPr>
          <p:cNvPr id="13" name="Bildplatzhalter">
            <a:extLst>
              <a:ext uri="{FF2B5EF4-FFF2-40B4-BE49-F238E27FC236}">
                <a16:creationId xmlns:a16="http://schemas.microsoft.com/office/drawing/2014/main" xmlns="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6" y="165101"/>
            <a:ext cx="8893865" cy="4721860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0" name="Dreieck">
            <a:extLst>
              <a:ext uri="{FF2B5EF4-FFF2-40B4-BE49-F238E27FC236}">
                <a16:creationId xmlns:a16="http://schemas.microsoft.com/office/drawing/2014/main" xmlns="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28" name="Headline">
            <a:extLst>
              <a:ext uri="{FF2B5EF4-FFF2-40B4-BE49-F238E27FC236}">
                <a16:creationId xmlns:a16="http://schemas.microsoft.com/office/drawing/2014/main" xmlns="" id="{813E0E27-07DF-4161-8BD6-EBA305CB5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6" y="846875"/>
            <a:ext cx="8893865" cy="4040085"/>
          </a:xfrm>
          <a:prstGeom prst="rect">
            <a:avLst/>
          </a:prstGeom>
          <a:blipFill dpi="0" rotWithShape="1">
            <a:blip r:embed="rId6"/>
            <a:srcRect/>
            <a:stretch>
              <a:fillRect l="-10" r="-10"/>
            </a:stretch>
          </a:blipFill>
        </p:spPr>
        <p:txBody>
          <a:bodyPr wrap="square" lIns="576000" bIns="1036800" anchor="b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für Illustration/Freisteller </a:t>
            </a:r>
            <a:br>
              <a:rPr lang="de-DE" dirty="0"/>
            </a:br>
            <a:r>
              <a:rPr lang="de-DE" dirty="0"/>
              <a:t>mit weißem Hintergrund (austauschbar)</a:t>
            </a:r>
          </a:p>
        </p:txBody>
      </p:sp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:a16="http://schemas.microsoft.com/office/drawing/2014/main" xmlns="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497023" y="1966807"/>
            <a:ext cx="1246909" cy="1147156"/>
          </a:xfrm>
          <a:prstGeom prst="rect">
            <a:avLst/>
          </a:prstGeom>
        </p:spPr>
      </p:pic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xmlns="" id="{B1AFA279-6BD4-4D5A-91D6-9AF666C8CC39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5274440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xmlns="" id="{5020DAB1-6624-4F6F-85BE-D8BE78A1A5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3" name="Bar">
            <a:extLst>
              <a:ext uri="{FF2B5EF4-FFF2-40B4-BE49-F238E27FC236}">
                <a16:creationId xmlns:a16="http://schemas.microsoft.com/office/drawing/2014/main" xmlns="" id="{8C59F0BE-E094-4F6F-B663-07A571A19A62}"/>
              </a:ext>
            </a:extLst>
          </p:cNvPr>
          <p:cNvSpPr/>
          <p:nvPr userDrawn="1"/>
        </p:nvSpPr>
        <p:spPr bwMode="gray">
          <a:xfrm>
            <a:off x="5369092" y="4886960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Projektname | Datum</a:t>
            </a:r>
          </a:p>
        </p:txBody>
      </p:sp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49" y="2782264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lternative Titelfolie</a:t>
            </a:r>
            <a:br>
              <a:rPr lang="de-DE" dirty="0"/>
            </a:br>
            <a:r>
              <a:rPr lang="de-DE" dirty="0"/>
              <a:t>ohne Foto</a:t>
            </a:r>
          </a:p>
        </p:txBody>
      </p:sp>
      <p:grpSp>
        <p:nvGrpSpPr>
          <p:cNvPr id="8" name="Key Visual">
            <a:extLst>
              <a:ext uri="{FF2B5EF4-FFF2-40B4-BE49-F238E27FC236}">
                <a16:creationId xmlns:a16="http://schemas.microsoft.com/office/drawing/2014/main" xmlns="" id="{1E0F1E1C-CA23-484C-B4BB-7C7FB71D6C86}"/>
              </a:ext>
            </a:extLst>
          </p:cNvPr>
          <p:cNvGrpSpPr/>
          <p:nvPr userDrawn="1"/>
        </p:nvGrpSpPr>
        <p:grpSpPr bwMode="gray">
          <a:xfrm>
            <a:off x="123136" y="165101"/>
            <a:ext cx="3783013" cy="1340924"/>
            <a:chOff x="4846637" y="119557"/>
            <a:chExt cx="3783013" cy="1005693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xmlns="" id="{361BEDD0-CC28-449C-8AF8-28ECB9820DCA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4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2AF78ACF-6170-47AC-80E0-F6021AD8B19F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xmlns="" id="{5BAE5611-256D-4234-B00F-EB779B3EA961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D32235C7-71CD-4034-844A-03FD0D112CE2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xmlns="" id="{717CA073-D9FE-4EFD-801F-27AB9308B312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5033634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xmlns="" id="{F0E6115A-0138-4831-8CBC-F3B86D466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7172684" cy="4660625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D736660-0108-43CE-8F0A-D0B9DD0BA0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9818" y="157347"/>
            <a:ext cx="2024047" cy="414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20755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6" name="Key Visual">
            <a:extLst>
              <a:ext uri="{FF2B5EF4-FFF2-40B4-BE49-F238E27FC236}">
                <a16:creationId xmlns:a16="http://schemas.microsoft.com/office/drawing/2014/main" xmlns="" id="{77156747-85E7-4ED4-B2ED-42ABA70FA613}"/>
              </a:ext>
            </a:extLst>
          </p:cNvPr>
          <p:cNvGrpSpPr/>
          <p:nvPr userDrawn="1"/>
        </p:nvGrpSpPr>
        <p:grpSpPr bwMode="gray">
          <a:xfrm flipV="1">
            <a:off x="123135" y="5311118"/>
            <a:ext cx="2320828" cy="822639"/>
            <a:chOff x="4846637" y="119557"/>
            <a:chExt cx="3783013" cy="1005693"/>
          </a:xfrm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xmlns="" id="{2E6C23C4-9083-4866-858D-0C04644D965B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xmlns="" id="{FB0BB156-07F2-4B83-B5A7-E91DE0017F5B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xmlns="" id="{86502DB2-D1D5-44BB-955E-FA20933B0C5A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xmlns="" id="{A25DFF6E-FE1D-49A8-A873-770951547FF1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8E38456C-C414-4CEB-A953-0F72775B0C8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platzhalter 7">
            <a:extLst>
              <a:ext uri="{FF2B5EF4-FFF2-40B4-BE49-F238E27FC236}">
                <a16:creationId xmlns:a16="http://schemas.microsoft.com/office/drawing/2014/main" xmlns="" id="{32E1886A-3475-4E66-B3BF-1AD48A203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7172684" cy="3746844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79521071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folie s/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6" y="165100"/>
            <a:ext cx="8893865" cy="5968659"/>
          </a:xfrm>
          <a:prstGeom prst="rect">
            <a:avLst/>
          </a:prstGeom>
        </p:spPr>
      </p:pic>
      <p:pic>
        <p:nvPicPr>
          <p:cNvPr id="20" name="Grafik 19" descr="Ein Bild, das Säge enthält.&#10;&#10;Automatisch generierte Beschreibung">
            <a:extLst>
              <a:ext uri="{FF2B5EF4-FFF2-40B4-BE49-F238E27FC236}">
                <a16:creationId xmlns:a16="http://schemas.microsoft.com/office/drawing/2014/main" xmlns="" id="{BCF144E3-F322-4496-87EE-8035011D1A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2093674"/>
            <a:ext cx="8895600" cy="4040085"/>
          </a:xfrm>
          <a:prstGeom prst="rect">
            <a:avLst/>
          </a:prstGeom>
        </p:spPr>
      </p:pic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4938863"/>
            <a:ext cx="7970837" cy="219291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49" y="4033216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- Startfolie</a:t>
            </a:r>
            <a:br>
              <a:rPr lang="de-DE" dirty="0"/>
            </a:br>
            <a:r>
              <a:rPr lang="de-DE" noProof="0" dirty="0"/>
              <a:t>mit s/w GIZ Key Visual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01728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">
            <a:extLst>
              <a:ext uri="{FF2B5EF4-FFF2-40B4-BE49-F238E27FC236}">
                <a16:creationId xmlns="" xmlns:a16="http://schemas.microsoft.com/office/drawing/2014/main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8" y="165102"/>
            <a:ext cx="8893865" cy="4721860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3" name="1.">
            <a:extLst>
              <a:ext uri="{FF2B5EF4-FFF2-40B4-BE49-F238E27FC236}">
                <a16:creationId xmlns="" xmlns:a16="http://schemas.microsoft.com/office/drawing/2014/main" id="{6C4143CA-4DB1-41D8-8702-2CD00961FDB5}"/>
              </a:ext>
            </a:extLst>
          </p:cNvPr>
          <p:cNvSpPr/>
          <p:nvPr userDrawn="1"/>
        </p:nvSpPr>
        <p:spPr bwMode="gray">
          <a:xfrm>
            <a:off x="4092745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="" xmlns:a16="http://schemas.microsoft.com/office/drawing/2014/main" id="{8F222F02-A2DC-42E9-84D4-4ACEFEE70A4D}"/>
              </a:ext>
            </a:extLst>
          </p:cNvPr>
          <p:cNvSpPr/>
          <p:nvPr userDrawn="1"/>
        </p:nvSpPr>
        <p:spPr bwMode="gray">
          <a:xfrm>
            <a:off x="5501865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="" xmlns:a16="http://schemas.microsoft.com/office/drawing/2014/main" id="{C15972D1-066C-49B6-94E5-4A7A0A3B2587}"/>
              </a:ext>
            </a:extLst>
          </p:cNvPr>
          <p:cNvSpPr/>
          <p:nvPr userDrawn="1"/>
        </p:nvSpPr>
        <p:spPr bwMode="gray">
          <a:xfrm>
            <a:off x="7427972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="" xmlns:a16="http://schemas.microsoft.com/office/drawing/2014/main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logo">
            <a:extLst>
              <a:ext uri="{FF2B5EF4-FFF2-40B4-BE49-F238E27FC236}">
                <a16:creationId xmlns="" xmlns:a16="http://schemas.microsoft.com/office/drawing/2014/main" id="{F8081F88-CBA8-4146-B984-924F5BAE43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7" name="Bar">
            <a:extLst>
              <a:ext uri="{FF2B5EF4-FFF2-40B4-BE49-F238E27FC236}">
                <a16:creationId xmlns="" xmlns:a16="http://schemas.microsoft.com/office/drawing/2014/main" id="{F01B0C4A-732E-4BC2-A2D7-A086E4E5403B}"/>
              </a:ext>
            </a:extLst>
          </p:cNvPr>
          <p:cNvSpPr/>
          <p:nvPr userDrawn="1"/>
        </p:nvSpPr>
        <p:spPr bwMode="gray">
          <a:xfrm>
            <a:off x="5369092" y="4886961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9" name="how">
            <a:extLst>
              <a:ext uri="{FF2B5EF4-FFF2-40B4-BE49-F238E27FC236}">
                <a16:creationId xmlns="" xmlns:a16="http://schemas.microsoft.com/office/drawing/2014/main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9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pic>
        <p:nvPicPr>
          <p:cNvPr id="7" name="Grafik 6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B2F80A22-ED8F-44E7-B2BE-85BF50D142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0723"/>
          <a:stretch/>
        </p:blipFill>
        <p:spPr>
          <a:xfrm>
            <a:off x="7454079" y="1136802"/>
            <a:ext cx="465722" cy="751359"/>
          </a:xfrm>
          <a:prstGeom prst="rect">
            <a:avLst/>
          </a:prstGeom>
        </p:spPr>
      </p:pic>
      <p:sp>
        <p:nvSpPr>
          <p:cNvPr id="10" name="Dreieck">
            <a:extLst>
              <a:ext uri="{FF2B5EF4-FFF2-40B4-BE49-F238E27FC236}">
                <a16:creationId xmlns="" xmlns:a16="http://schemas.microsoft.com/office/drawing/2014/main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5" name="Headline">
            <a:extLst>
              <a:ext uri="{FF2B5EF4-FFF2-40B4-BE49-F238E27FC236}">
                <a16:creationId xmlns="" xmlns:a16="http://schemas.microsoft.com/office/drawing/2014/main" id="{F8646EF2-FE73-41DC-B654-C5012A372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8" y="846876"/>
            <a:ext cx="8893865" cy="4040085"/>
          </a:xfrm>
          <a:prstGeom prst="rect">
            <a:avLst/>
          </a:prstGeom>
          <a:blipFill dpi="0" rotWithShape="1">
            <a:blip r:embed="rId5">
              <a:alphaModFix amt="80000"/>
            </a:blip>
            <a:srcRect/>
            <a:stretch>
              <a:fillRect l="-10" r="-10"/>
            </a:stretch>
          </a:blipFill>
        </p:spPr>
        <p:txBody>
          <a:bodyPr wrap="square" lIns="576000" bIns="1036800" anchor="b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/ Headline</a:t>
            </a:r>
            <a:br>
              <a:rPr lang="de-DE" dirty="0"/>
            </a:br>
            <a:r>
              <a:rPr lang="de-DE" dirty="0"/>
              <a:t>mit Hintergrundfoto (austauschbar)</a:t>
            </a:r>
          </a:p>
        </p:txBody>
      </p:sp>
      <p:pic>
        <p:nvPicPr>
          <p:cNvPr id="4" name="Grafik 3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E5595441-F987-46F7-B0FF-6162DB53F7E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589808" y="1136802"/>
            <a:ext cx="1584898" cy="751359"/>
          </a:xfrm>
          <a:prstGeom prst="rect">
            <a:avLst/>
          </a:prstGeom>
        </p:spPr>
      </p:pic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="" xmlns:a16="http://schemas.microsoft.com/office/drawing/2014/main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497025" y="1966807"/>
            <a:ext cx="1246909" cy="1147156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="" xmlns:a16="http://schemas.microsoft.com/office/drawing/2014/main" id="{D653919A-E7CD-4FC8-8C22-019673316FC4}"/>
              </a:ext>
            </a:extLst>
          </p:cNvPr>
          <p:cNvSpPr/>
          <p:nvPr userDrawn="1"/>
        </p:nvSpPr>
        <p:spPr bwMode="gray">
          <a:xfrm>
            <a:off x="6550858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="" xmlns:a16="http://schemas.microsoft.com/office/drawing/2014/main" id="{63D020A0-C673-400D-8D07-9B4444BF8D7C}"/>
              </a:ext>
            </a:extLst>
          </p:cNvPr>
          <p:cNvSpPr/>
          <p:nvPr userDrawn="1"/>
        </p:nvSpPr>
        <p:spPr bwMode="gray">
          <a:xfrm>
            <a:off x="7478457" y="1373458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705115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folie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44D13A53-E295-469E-858E-7B58C3A9BD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0723"/>
          <a:stretch/>
        </p:blipFill>
        <p:spPr>
          <a:xfrm>
            <a:off x="7500969" y="1136801"/>
            <a:ext cx="465722" cy="751359"/>
          </a:xfrm>
          <a:prstGeom prst="rect">
            <a:avLst/>
          </a:prstGeom>
        </p:spPr>
      </p:pic>
      <p:pic>
        <p:nvPicPr>
          <p:cNvPr id="31" name="Grafik 30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039598BE-791E-4D95-98E2-387FD9AFFE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89808" y="1136801"/>
            <a:ext cx="1584898" cy="751359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xmlns="" id="{15D7DBD6-6353-423F-8FD4-C16E2BBCE1B4}"/>
              </a:ext>
            </a:extLst>
          </p:cNvPr>
          <p:cNvSpPr/>
          <p:nvPr userDrawn="1"/>
        </p:nvSpPr>
        <p:spPr bwMode="gray">
          <a:xfrm>
            <a:off x="6550856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:a16="http://schemas.microsoft.com/office/drawing/2014/main" xmlns="" id="{ED021507-F859-4746-88F8-317706961200}"/>
              </a:ext>
            </a:extLst>
          </p:cNvPr>
          <p:cNvSpPr/>
          <p:nvPr userDrawn="1"/>
        </p:nvSpPr>
        <p:spPr bwMode="gray">
          <a:xfrm>
            <a:off x="7525347" y="1373457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3" name="Bildplatzhalter">
            <a:extLst>
              <a:ext uri="{FF2B5EF4-FFF2-40B4-BE49-F238E27FC236}">
                <a16:creationId xmlns:a16="http://schemas.microsoft.com/office/drawing/2014/main" xmlns="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6" y="165100"/>
            <a:ext cx="8893865" cy="5968659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3" name="1.">
            <a:extLst>
              <a:ext uri="{FF2B5EF4-FFF2-40B4-BE49-F238E27FC236}">
                <a16:creationId xmlns:a16="http://schemas.microsoft.com/office/drawing/2014/main" xmlns="" id="{6C4143CA-4DB1-41D8-8702-2CD00961FDB5}"/>
              </a:ext>
            </a:extLst>
          </p:cNvPr>
          <p:cNvSpPr/>
          <p:nvPr userDrawn="1"/>
        </p:nvSpPr>
        <p:spPr bwMode="gray">
          <a:xfrm>
            <a:off x="4092743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:a16="http://schemas.microsoft.com/office/drawing/2014/main" xmlns="" id="{8F222F02-A2DC-42E9-84D4-4ACEFEE70A4D}"/>
              </a:ext>
            </a:extLst>
          </p:cNvPr>
          <p:cNvSpPr/>
          <p:nvPr userDrawn="1"/>
        </p:nvSpPr>
        <p:spPr bwMode="gray">
          <a:xfrm>
            <a:off x="5501863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:a16="http://schemas.microsoft.com/office/drawing/2014/main" xmlns="" id="{C15972D1-066C-49B6-94E5-4A7A0A3B2587}"/>
              </a:ext>
            </a:extLst>
          </p:cNvPr>
          <p:cNvSpPr/>
          <p:nvPr userDrawn="1"/>
        </p:nvSpPr>
        <p:spPr bwMode="gray">
          <a:xfrm>
            <a:off x="7427970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xmlns="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how">
            <a:extLst>
              <a:ext uri="{FF2B5EF4-FFF2-40B4-BE49-F238E27FC236}">
                <a16:creationId xmlns:a16="http://schemas.microsoft.com/office/drawing/2014/main" xmlns="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7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sp>
        <p:nvSpPr>
          <p:cNvPr id="10" name="Dreieck">
            <a:extLst>
              <a:ext uri="{FF2B5EF4-FFF2-40B4-BE49-F238E27FC236}">
                <a16:creationId xmlns:a16="http://schemas.microsoft.com/office/drawing/2014/main" xmlns="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5" name="Headline">
            <a:extLst>
              <a:ext uri="{FF2B5EF4-FFF2-40B4-BE49-F238E27FC236}">
                <a16:creationId xmlns:a16="http://schemas.microsoft.com/office/drawing/2014/main" xmlns="" id="{F8646EF2-FE73-41DC-B654-C5012A372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6" y="2093674"/>
            <a:ext cx="8893865" cy="4040085"/>
          </a:xfrm>
          <a:prstGeom prst="rect">
            <a:avLst/>
          </a:prstGeom>
          <a:blipFill dpi="0" rotWithShape="1">
            <a:blip r:embed="rId4">
              <a:alphaModFix amt="80000"/>
            </a:blip>
            <a:srcRect/>
            <a:stretch>
              <a:fillRect l="-10" r="-10"/>
            </a:stretch>
          </a:blipFill>
        </p:spPr>
        <p:txBody>
          <a:bodyPr wrap="square" lIns="576000" bIns="1036800" anchor="b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- Startfolie</a:t>
            </a:r>
            <a:br>
              <a:rPr lang="de-DE" dirty="0"/>
            </a:br>
            <a:r>
              <a:rPr lang="de-DE" dirty="0"/>
              <a:t>mit Hintergrundfoto (austauschbar)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:a16="http://schemas.microsoft.com/office/drawing/2014/main" xmlns="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7497023" y="1966807"/>
            <a:ext cx="1246909" cy="1147156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FDD79862-8BF3-4D14-AF58-2F22BF60427E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2CB5F56C-6422-4495-9DA4-2AF22406E26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2D7E061E-EDDF-4769-84B3-644BEC3FD70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28" name="Subline">
            <a:extLst>
              <a:ext uri="{FF2B5EF4-FFF2-40B4-BE49-F238E27FC236}">
                <a16:creationId xmlns:a16="http://schemas.microsoft.com/office/drawing/2014/main" xmlns="" id="{6699B1E5-C447-4674-92BB-C2A1F3ADCF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4938863"/>
            <a:ext cx="7970837" cy="219291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xmlns="" id="{32E200F4-77BE-447A-A909-46651560A0DE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8830507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foli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line">
            <a:extLst>
              <a:ext uri="{FF2B5EF4-FFF2-40B4-BE49-F238E27FC236}">
                <a16:creationId xmlns:a16="http://schemas.microsoft.com/office/drawing/2014/main" xmlns="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49" y="3700611"/>
            <a:ext cx="7970837" cy="219291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49" y="2782264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- Startfolie</a:t>
            </a:r>
            <a:br>
              <a:rPr lang="de-DE" dirty="0"/>
            </a:br>
            <a:r>
              <a:rPr lang="de-DE" dirty="0"/>
              <a:t>Diese kann auch zweizeilig sein</a:t>
            </a:r>
          </a:p>
        </p:txBody>
      </p:sp>
      <p:grpSp>
        <p:nvGrpSpPr>
          <p:cNvPr id="8" name="Key Visual">
            <a:extLst>
              <a:ext uri="{FF2B5EF4-FFF2-40B4-BE49-F238E27FC236}">
                <a16:creationId xmlns:a16="http://schemas.microsoft.com/office/drawing/2014/main" xmlns="" id="{1E0F1E1C-CA23-484C-B4BB-7C7FB71D6C86}"/>
              </a:ext>
            </a:extLst>
          </p:cNvPr>
          <p:cNvGrpSpPr/>
          <p:nvPr userDrawn="1"/>
        </p:nvGrpSpPr>
        <p:grpSpPr bwMode="gray">
          <a:xfrm>
            <a:off x="123136" y="165101"/>
            <a:ext cx="3783013" cy="1340924"/>
            <a:chOff x="4846637" y="119557"/>
            <a:chExt cx="3783013" cy="1005693"/>
          </a:xfrm>
        </p:grpSpPr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xmlns="" id="{361BEDD0-CC28-449C-8AF8-28ECB9820DCA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2AF78ACF-6170-47AC-80E0-F6021AD8B19F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xmlns="" id="{5BAE5611-256D-4234-B00F-EB779B3EA961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D32235C7-71CD-4034-844A-03FD0D112CE2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xmlns="" id="{717CA073-D9FE-4EFD-801F-27AB9308B312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3DA937B-815A-4937-A580-EB446EC1E29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3879C62A-D416-4679-A185-87D192D151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344C1EF2-B6DF-42B8-821B-BF76B5E14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996369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s/w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6" y="165100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6" y="165100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5699" y="2800616"/>
            <a:ext cx="7472602" cy="38010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95000"/>
              </a:lnSpc>
              <a:spcBef>
                <a:spcPts val="1200"/>
              </a:spcBef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Zwischenfoli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491186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5699" y="2800616"/>
            <a:ext cx="7472602" cy="38010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95000"/>
              </a:lnSpc>
              <a:spcBef>
                <a:spcPts val="1200"/>
              </a:spcBef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Zwischenfoli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053088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weiß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eadline">
            <a:extLst>
              <a:ext uri="{FF2B5EF4-FFF2-40B4-BE49-F238E27FC236}">
                <a16:creationId xmlns:a16="http://schemas.microsoft.com/office/drawing/2014/main" xmlns="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5699" y="2800616"/>
            <a:ext cx="7472602" cy="38010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95000"/>
              </a:lnSpc>
              <a:spcBef>
                <a:spcPts val="1200"/>
              </a:spcBef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Zwischenfoli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12" name="Key Visual">
            <a:extLst>
              <a:ext uri="{FF2B5EF4-FFF2-40B4-BE49-F238E27FC236}">
                <a16:creationId xmlns:a16="http://schemas.microsoft.com/office/drawing/2014/main" xmlns="" id="{D9D8699C-EAEE-4654-9DB5-5DBEA94DFD69}"/>
              </a:ext>
            </a:extLst>
          </p:cNvPr>
          <p:cNvGrpSpPr/>
          <p:nvPr userDrawn="1"/>
        </p:nvGrpSpPr>
        <p:grpSpPr bwMode="gray">
          <a:xfrm flipV="1">
            <a:off x="123135" y="4525210"/>
            <a:ext cx="4538033" cy="1608548"/>
            <a:chOff x="4846637" y="119557"/>
            <a:chExt cx="3783013" cy="1005693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xmlns="" id="{57ACA972-95E7-4330-A959-68C656E58B90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EF93F907-303A-4592-848E-F1A7AFDDDD4A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xmlns="" id="{C8AAE6CE-CD01-4233-9E65-D495D92CF161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xmlns="" id="{1AAC9A52-2206-4D16-A752-9C733CC5CB7F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xmlns="" id="{8D075FE9-0EDA-4BE2-B2C1-22DF2B8842B2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6" name="Key Visual">
            <a:extLst>
              <a:ext uri="{FF2B5EF4-FFF2-40B4-BE49-F238E27FC236}">
                <a16:creationId xmlns:a16="http://schemas.microsoft.com/office/drawing/2014/main" xmlns="" id="{C7D69FF2-A45A-405D-BC43-69B4E925551F}"/>
              </a:ext>
            </a:extLst>
          </p:cNvPr>
          <p:cNvGrpSpPr/>
          <p:nvPr userDrawn="1"/>
        </p:nvGrpSpPr>
        <p:grpSpPr bwMode="gray">
          <a:xfrm flipH="1">
            <a:off x="6701038" y="165100"/>
            <a:ext cx="2315963" cy="820915"/>
            <a:chOff x="4846637" y="119557"/>
            <a:chExt cx="3783013" cy="1005693"/>
          </a:xfrm>
        </p:grpSpPr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xmlns="" id="{67E195A5-1DB2-4051-897C-B5E84120B476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xmlns="" id="{9234AB9A-5088-479E-92C2-4F81972E1E55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xmlns="" id="{5FBB400A-FFCE-4E88-B1BF-846AC7A46F8E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xmlns="" id="{4A214495-DB26-435D-9164-4A350ECF0071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xmlns="" id="{AD46CA09-12E7-4803-A8A0-CC8821A2FBF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052215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">
            <a:extLst>
              <a:ext uri="{FF2B5EF4-FFF2-40B4-BE49-F238E27FC236}">
                <a16:creationId xmlns:a16="http://schemas.microsoft.com/office/drawing/2014/main" xmlns="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6" y="165100"/>
            <a:ext cx="8893865" cy="5968659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3" name="1.">
            <a:extLst>
              <a:ext uri="{FF2B5EF4-FFF2-40B4-BE49-F238E27FC236}">
                <a16:creationId xmlns:a16="http://schemas.microsoft.com/office/drawing/2014/main" xmlns="" id="{6C4143CA-4DB1-41D8-8702-2CD00961FDB5}"/>
              </a:ext>
            </a:extLst>
          </p:cNvPr>
          <p:cNvSpPr/>
          <p:nvPr userDrawn="1"/>
        </p:nvSpPr>
        <p:spPr bwMode="gray">
          <a:xfrm>
            <a:off x="4092743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:a16="http://schemas.microsoft.com/office/drawing/2014/main" xmlns="" id="{8F222F02-A2DC-42E9-84D4-4ACEFEE70A4D}"/>
              </a:ext>
            </a:extLst>
          </p:cNvPr>
          <p:cNvSpPr/>
          <p:nvPr userDrawn="1"/>
        </p:nvSpPr>
        <p:spPr bwMode="gray">
          <a:xfrm>
            <a:off x="5501863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:a16="http://schemas.microsoft.com/office/drawing/2014/main" xmlns="" id="{C15972D1-066C-49B6-94E5-4A7A0A3B2587}"/>
              </a:ext>
            </a:extLst>
          </p:cNvPr>
          <p:cNvSpPr/>
          <p:nvPr userDrawn="1"/>
        </p:nvSpPr>
        <p:spPr bwMode="gray">
          <a:xfrm>
            <a:off x="7427970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xmlns="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how">
            <a:extLst>
              <a:ext uri="{FF2B5EF4-FFF2-40B4-BE49-F238E27FC236}">
                <a16:creationId xmlns:a16="http://schemas.microsoft.com/office/drawing/2014/main" xmlns="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7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 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sp>
        <p:nvSpPr>
          <p:cNvPr id="10" name="Dreieck">
            <a:extLst>
              <a:ext uri="{FF2B5EF4-FFF2-40B4-BE49-F238E27FC236}">
                <a16:creationId xmlns:a16="http://schemas.microsoft.com/office/drawing/2014/main" xmlns="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5" name="Headline">
            <a:extLst>
              <a:ext uri="{FF2B5EF4-FFF2-40B4-BE49-F238E27FC236}">
                <a16:creationId xmlns:a16="http://schemas.microsoft.com/office/drawing/2014/main" xmlns="" id="{F8646EF2-FE73-41DC-B654-C5012A372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6" y="2093674"/>
            <a:ext cx="8893865" cy="4040085"/>
          </a:xfrm>
          <a:prstGeom prst="rect">
            <a:avLst/>
          </a:prstGeom>
          <a:blipFill dpi="0" rotWithShape="1">
            <a:blip r:embed="rId2">
              <a:alphaModFix amt="80000"/>
            </a:blip>
            <a:srcRect/>
            <a:stretch>
              <a:fillRect l="-10" r="-10"/>
            </a:stretch>
          </a:blipFill>
        </p:spPr>
        <p:txBody>
          <a:bodyPr wrap="square" lIns="900000" bIns="684000" anchor="b"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folie mit Hintergrundfoto </a:t>
            </a:r>
            <a:br>
              <a:rPr lang="de-DE" dirty="0"/>
            </a:br>
            <a:r>
              <a:rPr lang="de-DE" dirty="0"/>
              <a:t>(austauschbar) 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:a16="http://schemas.microsoft.com/office/drawing/2014/main" xmlns="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7497023" y="1966807"/>
            <a:ext cx="1246909" cy="1147156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FDD79862-8BF3-4D14-AF58-2F22BF60427E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2CB5F56C-6422-4495-9DA4-2AF22406E26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2D7E061E-EDDF-4769-84B3-644BEC3FD70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pic>
        <p:nvPicPr>
          <p:cNvPr id="28" name="Grafik 27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F1DBC752-EBBC-4263-9446-7AAD2ADD5B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0723"/>
          <a:stretch/>
        </p:blipFill>
        <p:spPr>
          <a:xfrm>
            <a:off x="7500969" y="1136801"/>
            <a:ext cx="465722" cy="751359"/>
          </a:xfrm>
          <a:prstGeom prst="rect">
            <a:avLst/>
          </a:prstGeom>
        </p:spPr>
      </p:pic>
      <p:pic>
        <p:nvPicPr>
          <p:cNvPr id="29" name="Grafik 28" descr="Ein Bild, das Screenshot enthält.&#10;&#10;Automatisch generierte Beschreibung">
            <a:extLst>
              <a:ext uri="{FF2B5EF4-FFF2-40B4-BE49-F238E27FC236}">
                <a16:creationId xmlns:a16="http://schemas.microsoft.com/office/drawing/2014/main" xmlns="" id="{BF7AF15A-C526-4954-8322-2AC54E413E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589808" y="1136801"/>
            <a:ext cx="1584898" cy="751359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xmlns="" id="{529302A3-2D45-4FC1-BF49-971AA95174F2}"/>
              </a:ext>
            </a:extLst>
          </p:cNvPr>
          <p:cNvSpPr/>
          <p:nvPr userDrawn="1"/>
        </p:nvSpPr>
        <p:spPr bwMode="gray">
          <a:xfrm>
            <a:off x="6550856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1" name="Rechteck">
            <a:extLst>
              <a:ext uri="{FF2B5EF4-FFF2-40B4-BE49-F238E27FC236}">
                <a16:creationId xmlns:a16="http://schemas.microsoft.com/office/drawing/2014/main" xmlns="" id="{59E4E17F-B8C7-48BE-82D7-2110F53F1AF1}"/>
              </a:ext>
            </a:extLst>
          </p:cNvPr>
          <p:cNvSpPr/>
          <p:nvPr userDrawn="1"/>
        </p:nvSpPr>
        <p:spPr bwMode="gray">
          <a:xfrm>
            <a:off x="7525347" y="1373457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456593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7172684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1670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 mit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xmlns="" id="{726EAD89-A3DC-4500-9071-F28C7DB87EC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52037"/>
            <a:ext cx="8567183" cy="36075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xmlns="" id="{7BDDDF81-EBEA-4C88-AA55-681A5710CA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49264" y="774701"/>
            <a:ext cx="8567737" cy="501651"/>
          </a:xfrm>
        </p:spPr>
        <p:txBody>
          <a:bodyPr vert="horz" lIns="0" tIns="0" rIns="72000" bIns="0" rtlCol="0" anchor="t">
            <a:noAutofit/>
          </a:bodyPr>
          <a:lstStyle>
            <a:lvl1pPr>
              <a:defRPr lang="de-DE" sz="1400" b="0" cap="none" baseline="0" smtClean="0"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de-DE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7172683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1773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2"/>
            <a:ext cx="7172684" cy="378644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20" name="Key Visual">
            <a:extLst>
              <a:ext uri="{FF2B5EF4-FFF2-40B4-BE49-F238E27FC236}">
                <a16:creationId xmlns:a16="http://schemas.microsoft.com/office/drawing/2014/main" xmlns="" id="{BCBD8A78-7D69-4DFD-B354-CF36A84705CB}"/>
              </a:ext>
            </a:extLst>
          </p:cNvPr>
          <p:cNvGrpSpPr/>
          <p:nvPr userDrawn="1"/>
        </p:nvGrpSpPr>
        <p:grpSpPr bwMode="gray">
          <a:xfrm flipV="1">
            <a:off x="123135" y="5311118"/>
            <a:ext cx="2320828" cy="822639"/>
            <a:chOff x="4846637" y="119557"/>
            <a:chExt cx="3783013" cy="1005693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xmlns="" id="{E45BEDC0-179F-43C1-A606-AFD62A6A063E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xmlns="" id="{F6CCD5CC-5505-4485-9297-BB0A34EBB2F6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xmlns="" id="{18541086-C56A-406D-91E6-D3E933CF7BA3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xmlns="" id="{1B8A9566-A588-4E4A-8143-1CBDC9C30D67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xmlns="" id="{6FDDC1A6-3462-4813-8D80-9E642D61798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4173493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4122182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083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xmlns="" id="{22732D1C-05D1-4A5F-B576-23063E1D7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888468" y="1361293"/>
            <a:ext cx="4122182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44419014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284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afik/Freistel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A5AD85A5-A6F8-4851-92FD-EA6609DAF6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0723"/>
          <a:stretch/>
        </p:blipFill>
        <p:spPr>
          <a:xfrm>
            <a:off x="7505658" y="1136802"/>
            <a:ext cx="465722" cy="751359"/>
          </a:xfrm>
          <a:prstGeom prst="rect">
            <a:avLst/>
          </a:prstGeom>
        </p:spPr>
      </p:pic>
      <p:pic>
        <p:nvPicPr>
          <p:cNvPr id="31" name="Grafik 30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4F0518D7-2DF0-4D50-B3EB-3D64E2485AB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89808" y="1136802"/>
            <a:ext cx="1584898" cy="751359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="" xmlns:a16="http://schemas.microsoft.com/office/drawing/2014/main" id="{3D8B1A33-9136-4498-A38F-1FAFEE6C912B}"/>
              </a:ext>
            </a:extLst>
          </p:cNvPr>
          <p:cNvSpPr/>
          <p:nvPr userDrawn="1"/>
        </p:nvSpPr>
        <p:spPr bwMode="gray">
          <a:xfrm>
            <a:off x="6550858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="" xmlns:a16="http://schemas.microsoft.com/office/drawing/2014/main" id="{13815075-80B4-4697-8852-2EC6A756D3E7}"/>
              </a:ext>
            </a:extLst>
          </p:cNvPr>
          <p:cNvSpPr/>
          <p:nvPr userDrawn="1"/>
        </p:nvSpPr>
        <p:spPr bwMode="gray">
          <a:xfrm>
            <a:off x="7530036" y="1373458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" name="1.">
            <a:extLst>
              <a:ext uri="{FF2B5EF4-FFF2-40B4-BE49-F238E27FC236}">
                <a16:creationId xmlns="" xmlns:a16="http://schemas.microsoft.com/office/drawing/2014/main" id="{6C4143CA-4DB1-41D8-8702-2CD00961FDB5}"/>
              </a:ext>
            </a:extLst>
          </p:cNvPr>
          <p:cNvSpPr/>
          <p:nvPr userDrawn="1"/>
        </p:nvSpPr>
        <p:spPr bwMode="gray">
          <a:xfrm>
            <a:off x="4092745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="" xmlns:a16="http://schemas.microsoft.com/office/drawing/2014/main" id="{8F222F02-A2DC-42E9-84D4-4ACEFEE70A4D}"/>
              </a:ext>
            </a:extLst>
          </p:cNvPr>
          <p:cNvSpPr/>
          <p:nvPr userDrawn="1"/>
        </p:nvSpPr>
        <p:spPr bwMode="gray">
          <a:xfrm>
            <a:off x="5501865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="" xmlns:a16="http://schemas.microsoft.com/office/drawing/2014/main" id="{C15972D1-066C-49B6-94E5-4A7A0A3B2587}"/>
              </a:ext>
            </a:extLst>
          </p:cNvPr>
          <p:cNvSpPr/>
          <p:nvPr userDrawn="1"/>
        </p:nvSpPr>
        <p:spPr bwMode="gray">
          <a:xfrm>
            <a:off x="7427972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="" xmlns:a16="http://schemas.microsoft.com/office/drawing/2014/main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logo">
            <a:extLst>
              <a:ext uri="{FF2B5EF4-FFF2-40B4-BE49-F238E27FC236}">
                <a16:creationId xmlns="" xmlns:a16="http://schemas.microsoft.com/office/drawing/2014/main" id="{F8081F88-CBA8-4146-B984-924F5BAE435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7" name="Bar">
            <a:extLst>
              <a:ext uri="{FF2B5EF4-FFF2-40B4-BE49-F238E27FC236}">
                <a16:creationId xmlns="" xmlns:a16="http://schemas.microsoft.com/office/drawing/2014/main" id="{F01B0C4A-732E-4BC2-A2D7-A086E4E5403B}"/>
              </a:ext>
            </a:extLst>
          </p:cNvPr>
          <p:cNvSpPr/>
          <p:nvPr userDrawn="1"/>
        </p:nvSpPr>
        <p:spPr bwMode="gray">
          <a:xfrm>
            <a:off x="5369092" y="4886961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9" name="how">
            <a:extLst>
              <a:ext uri="{FF2B5EF4-FFF2-40B4-BE49-F238E27FC236}">
                <a16:creationId xmlns="" xmlns:a16="http://schemas.microsoft.com/office/drawing/2014/main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9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sp>
        <p:nvSpPr>
          <p:cNvPr id="13" name="Bildplatzhalter">
            <a:extLst>
              <a:ext uri="{FF2B5EF4-FFF2-40B4-BE49-F238E27FC236}">
                <a16:creationId xmlns="" xmlns:a16="http://schemas.microsoft.com/office/drawing/2014/main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8" y="165102"/>
            <a:ext cx="8893865" cy="4721860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0" name="Dreieck">
            <a:extLst>
              <a:ext uri="{FF2B5EF4-FFF2-40B4-BE49-F238E27FC236}">
                <a16:creationId xmlns="" xmlns:a16="http://schemas.microsoft.com/office/drawing/2014/main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28" name="Headline">
            <a:extLst>
              <a:ext uri="{FF2B5EF4-FFF2-40B4-BE49-F238E27FC236}">
                <a16:creationId xmlns="" xmlns:a16="http://schemas.microsoft.com/office/drawing/2014/main" id="{813E0E27-07DF-4161-8BD6-EBA305CB5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8" y="846876"/>
            <a:ext cx="8893865" cy="4040085"/>
          </a:xfrm>
          <a:prstGeom prst="rect">
            <a:avLst/>
          </a:prstGeom>
          <a:blipFill dpi="0" rotWithShape="1">
            <a:blip r:embed="rId6"/>
            <a:srcRect/>
            <a:stretch>
              <a:fillRect l="-10" r="-10"/>
            </a:stretch>
          </a:blipFill>
        </p:spPr>
        <p:txBody>
          <a:bodyPr wrap="square" lIns="576000" bIns="1036800" anchor="b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folie für Illustration/Freisteller </a:t>
            </a:r>
            <a:br>
              <a:rPr lang="de-DE" dirty="0"/>
            </a:br>
            <a:r>
              <a:rPr lang="de-DE" dirty="0"/>
              <a:t>mit weißem Hintergrund (austauschbar)</a:t>
            </a:r>
          </a:p>
        </p:txBody>
      </p:sp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  <a:p>
            <a:pPr lvl="0"/>
            <a:r>
              <a:rPr lang="de-DE" dirty="0"/>
              <a:t>Projektname | Datum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="" xmlns:a16="http://schemas.microsoft.com/office/drawing/2014/main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gray">
          <a:xfrm>
            <a:off x="7497025" y="1966807"/>
            <a:ext cx="1246909" cy="1147156"/>
          </a:xfrm>
          <a:prstGeom prst="rect">
            <a:avLst/>
          </a:prstGeom>
        </p:spPr>
      </p:pic>
      <p:cxnSp>
        <p:nvCxnSpPr>
          <p:cNvPr id="29" name="Gerade Verbindung mit Pfeil 28">
            <a:extLst>
              <a:ext uri="{FF2B5EF4-FFF2-40B4-BE49-F238E27FC236}">
                <a16:creationId xmlns="" xmlns:a16="http://schemas.microsoft.com/office/drawing/2014/main" id="{B1AFA279-6BD4-4D5A-91D6-9AF666C8CC39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578328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einspal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2"/>
            <a:ext cx="4122182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8555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2845" userDrawn="1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1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5" y="167506"/>
            <a:ext cx="3490261" cy="5966593"/>
          </a:xfrm>
          <a:solidFill>
            <a:schemeClr val="bg2"/>
          </a:solidFill>
        </p:spPr>
        <p:txBody>
          <a:bodyPr tIns="1440000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1"/>
            <a:ext cx="4839634" cy="477280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xmlns="" id="{7EA27159-D449-4E61-9234-12331EF2588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4839634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124119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1 Foto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5" y="167506"/>
            <a:ext cx="3490261" cy="5966593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1"/>
            <a:ext cx="4839634" cy="379998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9" name="Key Visual">
            <a:extLst>
              <a:ext uri="{FF2B5EF4-FFF2-40B4-BE49-F238E27FC236}">
                <a16:creationId xmlns:a16="http://schemas.microsoft.com/office/drawing/2014/main" xmlns="" id="{0AED28BE-BD58-4C37-99C9-6DDD5906BC8A}"/>
              </a:ext>
            </a:extLst>
          </p:cNvPr>
          <p:cNvGrpSpPr/>
          <p:nvPr userDrawn="1"/>
        </p:nvGrpSpPr>
        <p:grpSpPr bwMode="gray">
          <a:xfrm flipV="1">
            <a:off x="123135" y="5311118"/>
            <a:ext cx="2320828" cy="822639"/>
            <a:chOff x="4846637" y="119557"/>
            <a:chExt cx="3783013" cy="1005693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xmlns="" id="{BC779D39-D9BE-456C-932C-90157753B824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B50BB92C-06E3-4F21-96E2-B587EED5161E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xmlns="" id="{855BC612-A565-4995-974E-DBAC4B729050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44462D1D-D151-4AD3-A2DA-8257376E401D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xmlns="" id="{07239E2B-B3C5-44BB-B6DD-DB8BC01E6601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xmlns="" id="{7204390B-3D37-494E-81FF-E1335F27C2A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4839634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909082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5" y="167506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1"/>
            <a:ext cx="4839634" cy="477280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8" name="Bildplatzhalter 5">
            <a:extLst>
              <a:ext uri="{FF2B5EF4-FFF2-40B4-BE49-F238E27FC236}">
                <a16:creationId xmlns:a16="http://schemas.microsoft.com/office/drawing/2014/main" xmlns="" id="{BD74B354-F270-4422-B8BC-EE20D478AA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528945" y="3273373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xmlns="" id="{E5EE29FF-B139-4CD9-A32C-25A2CCBFB41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4839635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146445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 Foto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5" y="167506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1"/>
            <a:ext cx="4839634" cy="379998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9" name="Key Visual">
            <a:extLst>
              <a:ext uri="{FF2B5EF4-FFF2-40B4-BE49-F238E27FC236}">
                <a16:creationId xmlns:a16="http://schemas.microsoft.com/office/drawing/2014/main" xmlns="" id="{0AED28BE-BD58-4C37-99C9-6DDD5906BC8A}"/>
              </a:ext>
            </a:extLst>
          </p:cNvPr>
          <p:cNvGrpSpPr/>
          <p:nvPr userDrawn="1"/>
        </p:nvGrpSpPr>
        <p:grpSpPr bwMode="gray">
          <a:xfrm flipV="1">
            <a:off x="123135" y="5311118"/>
            <a:ext cx="2320828" cy="822639"/>
            <a:chOff x="4846637" y="119557"/>
            <a:chExt cx="3783013" cy="1005693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xmlns="" id="{BC779D39-D9BE-456C-932C-90157753B824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B50BB92C-06E3-4F21-96E2-B587EED5161E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xmlns="" id="{855BC612-A565-4995-974E-DBAC4B729050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xmlns="" id="{44462D1D-D151-4AD3-A2DA-8257376E401D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xmlns="" id="{07239E2B-B3C5-44BB-B6DD-DB8BC01E6601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8" name="Bildplatzhalter 5">
            <a:extLst>
              <a:ext uri="{FF2B5EF4-FFF2-40B4-BE49-F238E27FC236}">
                <a16:creationId xmlns:a16="http://schemas.microsoft.com/office/drawing/2014/main" xmlns="" id="{BD74B354-F270-4422-B8BC-EE20D478AA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528945" y="3273373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xmlns="" id="{0DB39AEE-4D7E-4227-8B8B-6259DA49FDB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4839634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3492365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 Fotos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>
            <a:extLst>
              <a:ext uri="{FF2B5EF4-FFF2-40B4-BE49-F238E27FC236}">
                <a16:creationId xmlns:a16="http://schemas.microsoft.com/office/drawing/2014/main" xmlns="" id="{6AFC61C6-D36D-49CC-A15E-B4D2086BCD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728156" y="3259668"/>
            <a:ext cx="4288845" cy="2874091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04CC61FD-96E9-460E-816E-FA87841093C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23135" y="3259668"/>
            <a:ext cx="4288845" cy="2874091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9" y="1361293"/>
            <a:ext cx="3962161" cy="1666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083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xmlns="" id="{22732D1C-05D1-4A5F-B576-23063E1D7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055733" y="1361293"/>
            <a:ext cx="3954917" cy="1666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481320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3 Fotos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>
            <a:extLst>
              <a:ext uri="{FF2B5EF4-FFF2-40B4-BE49-F238E27FC236}">
                <a16:creationId xmlns:a16="http://schemas.microsoft.com/office/drawing/2014/main" xmlns="" id="{6AFC61C6-D36D-49CC-A15E-B4D2086BCD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140868" y="3992957"/>
            <a:ext cx="2858400" cy="2140800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xmlns="" id="{04CC61FD-96E9-460E-816E-FA87841093C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23135" y="3992957"/>
            <a:ext cx="2858400" cy="2140800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9" y="1361293"/>
            <a:ext cx="2531717" cy="23588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083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xmlns="" id="{22732D1C-05D1-4A5F-B576-23063E1D7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3467552" y="1361293"/>
            <a:ext cx="2531717" cy="23588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xmlns="" id="{AB38192C-6783-4C98-AB15-3A38EFFC1B0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6158600" y="3992957"/>
            <a:ext cx="2858400" cy="2140800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xmlns="" id="{DED8696E-3F6E-4312-8474-D7B6C988FD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485285" y="1361293"/>
            <a:ext cx="2531717" cy="23588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77693928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60375" y="4150517"/>
            <a:ext cx="2645076" cy="1983583"/>
          </a:xfrm>
          <a:solidFill>
            <a:schemeClr val="bg2"/>
          </a:solidFill>
        </p:spPr>
        <p:txBody>
          <a:bodyPr vert="horz" lIns="36000" tIns="1152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xmlns="" id="{2FE0F192-365F-4B9B-9AE5-A8DCD077B27C}"/>
              </a:ext>
            </a:extLst>
          </p:cNvPr>
          <p:cNvSpPr/>
          <p:nvPr userDrawn="1"/>
        </p:nvSpPr>
        <p:spPr bwMode="gray">
          <a:xfrm>
            <a:off x="460374" y="1294229"/>
            <a:ext cx="2644776" cy="18534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 dirty="0" err="1">
              <a:solidFill>
                <a:prstClr val="white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xmlns="" id="{FD20B6CE-6FB5-47BE-ACA3-1FADB18A5F9F}"/>
              </a:ext>
            </a:extLst>
          </p:cNvPr>
          <p:cNvSpPr/>
          <p:nvPr userDrawn="1"/>
        </p:nvSpPr>
        <p:spPr bwMode="gray">
          <a:xfrm>
            <a:off x="460374" y="3228948"/>
            <a:ext cx="2644776" cy="8458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 dirty="0" err="1">
              <a:solidFill>
                <a:prstClr val="white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AF0F476-FCB1-4FAD-A333-9C951E2B5D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374" y="3223373"/>
            <a:ext cx="2644776" cy="282675"/>
          </a:xfrm>
          <a:noFill/>
        </p:spPr>
        <p:txBody>
          <a:bodyPr vert="horz" lIns="72000" tIns="36000" rIns="72000" bIns="36000" rtlCol="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000" b="1" baseline="0" dirty="0">
                <a:solidFill>
                  <a:schemeClr val="bg1"/>
                </a:solidFill>
              </a:defRPr>
            </a:lvl1pPr>
            <a:lvl2pPr>
              <a:defRPr lang="de-DE" dirty="0"/>
            </a:lvl2pPr>
            <a:lvl3pPr>
              <a:defRPr lang="en-GB" dirty="0"/>
            </a:lvl3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Name des Partne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xmlns="" id="{E5EE29FF-B139-4CD9-A32C-25A2CCBFB41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4839635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xmlns="" id="{40AE37FF-8E79-4DC2-894F-409F5F1424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0374" y="3532554"/>
            <a:ext cx="2644776" cy="525937"/>
          </a:xfrm>
          <a:noFill/>
        </p:spPr>
        <p:txBody>
          <a:bodyPr lIns="72000" anchor="t"/>
          <a:lstStyle>
            <a:lvl1pPr>
              <a:lnSpc>
                <a:spcPct val="100000"/>
              </a:lnSpc>
              <a:spcBef>
                <a:spcPts val="0"/>
              </a:spcBef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M/JJJJ – MM/JJJJ</a:t>
            </a:r>
            <a:br>
              <a:rPr lang="de-DE" dirty="0"/>
            </a:br>
            <a:r>
              <a:rPr lang="de-DE" dirty="0"/>
              <a:t>Volumen: 00 Mio. €</a:t>
            </a:r>
            <a:br>
              <a:rPr lang="de-DE" dirty="0"/>
            </a:br>
            <a:r>
              <a:rPr lang="de-DE" dirty="0"/>
              <a:t>Öffentlicher Beitrag: 000.000 €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xmlns="" id="{133FB7B2-F1B0-4BE4-A9A1-2AA5AD68E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0374" y="1295081"/>
            <a:ext cx="2644776" cy="362396"/>
          </a:xfrm>
          <a:noFill/>
        </p:spPr>
        <p:txBody>
          <a:bodyPr lIns="72000" tIns="36000" bIns="36000" anchor="ctr"/>
          <a:lstStyle>
            <a:lvl1pPr>
              <a:defRPr sz="11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 des Landes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xmlns="" id="{50874649-3395-4A9D-A057-03A867415B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0374" y="1657477"/>
            <a:ext cx="2644776" cy="1490155"/>
          </a:xfrm>
          <a:noFill/>
        </p:spPr>
        <p:txBody>
          <a:bodyPr lIns="72000" tIns="0" bIns="36000" anchor="t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/>
              <a:t>Text mit dem Namen des Landes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47B8F238-9E4D-4367-BF20-CAA4F4E82F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3310597" y="1361017"/>
            <a:ext cx="5717516" cy="47730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91180719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6" y="165100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6" y="165100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1059418" y="6583900"/>
            <a:ext cx="533639" cy="92333"/>
          </a:xfrm>
        </p:spPr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>
          <a:xfrm>
            <a:off x="1783023" y="6583902"/>
            <a:ext cx="5839479" cy="92333"/>
          </a:xfrm>
        </p:spPr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49817" y="6583900"/>
            <a:ext cx="450850" cy="92333"/>
          </a:xfrm>
        </p:spPr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xmlns="" id="{3B6C23A5-1B72-42F2-B92F-DC68B632F6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342492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xmlns="" id="{F0C65784-9410-409B-82EA-6584D4732C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0285" y="2760959"/>
            <a:ext cx="3369561" cy="13667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 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 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20" name="Textplatzhalter 29">
            <a:extLst>
              <a:ext uri="{FF2B5EF4-FFF2-40B4-BE49-F238E27FC236}">
                <a16:creationId xmlns:a16="http://schemas.microsoft.com/office/drawing/2014/main" xmlns="" id="{85761457-A63B-46F2-99C5-E217A1E0A70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2140285" y="1857148"/>
            <a:ext cx="3369561" cy="235035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platzhalter 30">
            <a:extLst>
              <a:ext uri="{FF2B5EF4-FFF2-40B4-BE49-F238E27FC236}">
                <a16:creationId xmlns:a16="http://schemas.microsoft.com/office/drawing/2014/main" xmlns="" id="{CB52D947-0416-4964-B28D-129580E4772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40285" y="2181304"/>
            <a:ext cx="3369561" cy="235035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5" name="Bildplatzhalter 6">
            <a:extLst>
              <a:ext uri="{FF2B5EF4-FFF2-40B4-BE49-F238E27FC236}">
                <a16:creationId xmlns:a16="http://schemas.microsoft.com/office/drawing/2014/main" xmlns="" id="{FC763A8F-9E6C-4EEB-90DC-0F65B80379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9817" y="1857148"/>
            <a:ext cx="1468079" cy="2270523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7" name="TextBox 7">
            <a:extLst>
              <a:ext uri="{FF2B5EF4-FFF2-40B4-BE49-F238E27FC236}">
                <a16:creationId xmlns:a16="http://schemas.microsoft.com/office/drawing/2014/main" xmlns="" id="{A45E5920-77D2-4E1E-832E-8A215D8A1078}"/>
              </a:ext>
            </a:extLst>
          </p:cNvPr>
          <p:cNvSpPr txBox="1"/>
          <p:nvPr userDrawn="1"/>
        </p:nvSpPr>
        <p:spPr bwMode="gray">
          <a:xfrm>
            <a:off x="784637" y="5403597"/>
            <a:ext cx="8386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www.giz.de</a:t>
            </a:r>
          </a:p>
        </p:txBody>
      </p:sp>
      <p:pic>
        <p:nvPicPr>
          <p:cNvPr id="38" name="Grafik 37" descr="Ein Bild, das Axt, Werkzeug enthält.&#10;&#10;Mit sehr hoher Zuverlässigkeit generierte Beschreibung">
            <a:extLst>
              <a:ext uri="{FF2B5EF4-FFF2-40B4-BE49-F238E27FC236}">
                <a16:creationId xmlns:a16="http://schemas.microsoft.com/office/drawing/2014/main" xmlns="" id="{195D3B85-8F61-41B8-939D-6F7806BB044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273484" y="5442594"/>
            <a:ext cx="290728" cy="315277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xmlns="" id="{E3F751BB-E4FA-4732-80BD-F94670E22B0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961178" y="5408250"/>
            <a:ext cx="234516" cy="312685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:a16="http://schemas.microsoft.com/office/drawing/2014/main" xmlns="" id="{58EDDA33-F3A1-4081-87DD-3B5C06FD4DD3}"/>
              </a:ext>
            </a:extLst>
          </p:cNvPr>
          <p:cNvGrpSpPr/>
          <p:nvPr userDrawn="1"/>
        </p:nvGrpSpPr>
        <p:grpSpPr bwMode="gray">
          <a:xfrm>
            <a:off x="444492" y="5372336"/>
            <a:ext cx="262622" cy="396344"/>
            <a:chOff x="4933951" y="-41275"/>
            <a:chExt cx="2130425" cy="2411413"/>
          </a:xfrm>
        </p:grpSpPr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xmlns="" id="{29CE574A-E366-49FD-9460-14AADB765F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1435100"/>
              <a:ext cx="2114550" cy="935038"/>
            </a:xfrm>
            <a:custGeom>
              <a:avLst/>
              <a:gdLst>
                <a:gd name="T0" fmla="*/ 287 w 425"/>
                <a:gd name="T1" fmla="*/ 25 h 188"/>
                <a:gd name="T2" fmla="*/ 297 w 425"/>
                <a:gd name="T3" fmla="*/ 2 h 188"/>
                <a:gd name="T4" fmla="*/ 325 w 425"/>
                <a:gd name="T5" fmla="*/ 0 h 188"/>
                <a:gd name="T6" fmla="*/ 321 w 425"/>
                <a:gd name="T7" fmla="*/ 23 h 188"/>
                <a:gd name="T8" fmla="*/ 382 w 425"/>
                <a:gd name="T9" fmla="*/ 25 h 188"/>
                <a:gd name="T10" fmla="*/ 394 w 425"/>
                <a:gd name="T11" fmla="*/ 2 h 188"/>
                <a:gd name="T12" fmla="*/ 423 w 425"/>
                <a:gd name="T13" fmla="*/ 0 h 188"/>
                <a:gd name="T14" fmla="*/ 307 w 425"/>
                <a:gd name="T15" fmla="*/ 135 h 188"/>
                <a:gd name="T16" fmla="*/ 0 w 425"/>
                <a:gd name="T17" fmla="*/ 2 h 188"/>
                <a:gd name="T18" fmla="*/ 28 w 425"/>
                <a:gd name="T19" fmla="*/ 0 h 188"/>
                <a:gd name="T20" fmla="*/ 40 w 425"/>
                <a:gd name="T21" fmla="*/ 23 h 188"/>
                <a:gd name="T22" fmla="*/ 101 w 425"/>
                <a:gd name="T23" fmla="*/ 25 h 188"/>
                <a:gd name="T24" fmla="*/ 97 w 425"/>
                <a:gd name="T25" fmla="*/ 3 h 188"/>
                <a:gd name="T26" fmla="*/ 125 w 425"/>
                <a:gd name="T27" fmla="*/ 0 h 188"/>
                <a:gd name="T28" fmla="*/ 134 w 425"/>
                <a:gd name="T29" fmla="*/ 23 h 188"/>
                <a:gd name="T30" fmla="*/ 192 w 425"/>
                <a:gd name="T31" fmla="*/ 25 h 188"/>
                <a:gd name="T32" fmla="*/ 194 w 425"/>
                <a:gd name="T33" fmla="*/ 2 h 188"/>
                <a:gd name="T34" fmla="*/ 221 w 425"/>
                <a:gd name="T35" fmla="*/ 0 h 188"/>
                <a:gd name="T36" fmla="*/ 224 w 425"/>
                <a:gd name="T37" fmla="*/ 23 h 188"/>
                <a:gd name="T38" fmla="*/ 256 w 425"/>
                <a:gd name="T39" fmla="*/ 25 h 188"/>
                <a:gd name="T40" fmla="*/ 362 w 425"/>
                <a:gd name="T41" fmla="*/ 55 h 188"/>
                <a:gd name="T42" fmla="*/ 307 w 425"/>
                <a:gd name="T43" fmla="*/ 56 h 188"/>
                <a:gd name="T44" fmla="*/ 256 w 425"/>
                <a:gd name="T45" fmla="*/ 121 h 188"/>
                <a:gd name="T46" fmla="*/ 363 w 425"/>
                <a:gd name="T47" fmla="*/ 56 h 188"/>
                <a:gd name="T48" fmla="*/ 87 w 425"/>
                <a:gd name="T49" fmla="*/ 55 h 188"/>
                <a:gd name="T50" fmla="*/ 61 w 425"/>
                <a:gd name="T51" fmla="*/ 55 h 188"/>
                <a:gd name="T52" fmla="*/ 155 w 425"/>
                <a:gd name="T53" fmla="*/ 118 h 188"/>
                <a:gd name="T54" fmla="*/ 156 w 425"/>
                <a:gd name="T55" fmla="*/ 117 h 188"/>
                <a:gd name="T56" fmla="*/ 111 w 425"/>
                <a:gd name="T57" fmla="*/ 55 h 188"/>
                <a:gd name="T58" fmla="*/ 224 w 425"/>
                <a:gd name="T59" fmla="*/ 81 h 188"/>
                <a:gd name="T60" fmla="*/ 224 w 425"/>
                <a:gd name="T61" fmla="*/ 108 h 188"/>
                <a:gd name="T62" fmla="*/ 273 w 425"/>
                <a:gd name="T63" fmla="*/ 56 h 188"/>
                <a:gd name="T64" fmla="*/ 225 w 425"/>
                <a:gd name="T65" fmla="*/ 55 h 188"/>
                <a:gd name="T66" fmla="*/ 224 w 425"/>
                <a:gd name="T67" fmla="*/ 81 h 188"/>
                <a:gd name="T68" fmla="*/ 194 w 425"/>
                <a:gd name="T69" fmla="*/ 56 h 188"/>
                <a:gd name="T70" fmla="*/ 148 w 425"/>
                <a:gd name="T71" fmla="*/ 55 h 188"/>
                <a:gd name="T72" fmla="*/ 192 w 425"/>
                <a:gd name="T73" fmla="*/ 109 h 188"/>
                <a:gd name="T74" fmla="*/ 194 w 425"/>
                <a:gd name="T75" fmla="*/ 10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5" h="188">
                  <a:moveTo>
                    <a:pt x="256" y="25"/>
                  </a:moveTo>
                  <a:cubicBezTo>
                    <a:pt x="267" y="25"/>
                    <a:pt x="277" y="25"/>
                    <a:pt x="287" y="25"/>
                  </a:cubicBezTo>
                  <a:cubicBezTo>
                    <a:pt x="288" y="25"/>
                    <a:pt x="290" y="24"/>
                    <a:pt x="290" y="23"/>
                  </a:cubicBezTo>
                  <a:cubicBezTo>
                    <a:pt x="292" y="16"/>
                    <a:pt x="294" y="9"/>
                    <a:pt x="297" y="2"/>
                  </a:cubicBezTo>
                  <a:cubicBezTo>
                    <a:pt x="297" y="2"/>
                    <a:pt x="298" y="0"/>
                    <a:pt x="299" y="0"/>
                  </a:cubicBezTo>
                  <a:cubicBezTo>
                    <a:pt x="308" y="0"/>
                    <a:pt x="316" y="0"/>
                    <a:pt x="325" y="0"/>
                  </a:cubicBezTo>
                  <a:cubicBezTo>
                    <a:pt x="326" y="0"/>
                    <a:pt x="327" y="2"/>
                    <a:pt x="326" y="2"/>
                  </a:cubicBezTo>
                  <a:cubicBezTo>
                    <a:pt x="325" y="9"/>
                    <a:pt x="323" y="16"/>
                    <a:pt x="321" y="23"/>
                  </a:cubicBezTo>
                  <a:cubicBezTo>
                    <a:pt x="321" y="23"/>
                    <a:pt x="322" y="25"/>
                    <a:pt x="322" y="25"/>
                  </a:cubicBezTo>
                  <a:cubicBezTo>
                    <a:pt x="342" y="25"/>
                    <a:pt x="362" y="25"/>
                    <a:pt x="382" y="25"/>
                  </a:cubicBezTo>
                  <a:cubicBezTo>
                    <a:pt x="383" y="25"/>
                    <a:pt x="384" y="24"/>
                    <a:pt x="384" y="23"/>
                  </a:cubicBezTo>
                  <a:cubicBezTo>
                    <a:pt x="388" y="16"/>
                    <a:pt x="391" y="9"/>
                    <a:pt x="394" y="2"/>
                  </a:cubicBezTo>
                  <a:cubicBezTo>
                    <a:pt x="394" y="1"/>
                    <a:pt x="395" y="0"/>
                    <a:pt x="396" y="0"/>
                  </a:cubicBezTo>
                  <a:cubicBezTo>
                    <a:pt x="405" y="0"/>
                    <a:pt x="414" y="0"/>
                    <a:pt x="423" y="0"/>
                  </a:cubicBezTo>
                  <a:cubicBezTo>
                    <a:pt x="424" y="0"/>
                    <a:pt x="425" y="2"/>
                    <a:pt x="425" y="3"/>
                  </a:cubicBezTo>
                  <a:cubicBezTo>
                    <a:pt x="405" y="64"/>
                    <a:pt x="365" y="108"/>
                    <a:pt x="307" y="135"/>
                  </a:cubicBezTo>
                  <a:cubicBezTo>
                    <a:pt x="195" y="188"/>
                    <a:pt x="60" y="139"/>
                    <a:pt x="10" y="28"/>
                  </a:cubicBezTo>
                  <a:cubicBezTo>
                    <a:pt x="6" y="20"/>
                    <a:pt x="3" y="11"/>
                    <a:pt x="0" y="2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10" y="0"/>
                    <a:pt x="19" y="0"/>
                    <a:pt x="28" y="0"/>
                  </a:cubicBezTo>
                  <a:cubicBezTo>
                    <a:pt x="29" y="0"/>
                    <a:pt x="30" y="1"/>
                    <a:pt x="31" y="2"/>
                  </a:cubicBezTo>
                  <a:cubicBezTo>
                    <a:pt x="34" y="9"/>
                    <a:pt x="37" y="16"/>
                    <a:pt x="40" y="23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62" y="25"/>
                    <a:pt x="81" y="25"/>
                    <a:pt x="101" y="25"/>
                  </a:cubicBezTo>
                  <a:cubicBezTo>
                    <a:pt x="101" y="25"/>
                    <a:pt x="102" y="23"/>
                    <a:pt x="102" y="23"/>
                  </a:cubicBezTo>
                  <a:cubicBezTo>
                    <a:pt x="101" y="16"/>
                    <a:pt x="99" y="9"/>
                    <a:pt x="97" y="3"/>
                  </a:cubicBezTo>
                  <a:cubicBezTo>
                    <a:pt x="97" y="2"/>
                    <a:pt x="98" y="0"/>
                    <a:pt x="99" y="0"/>
                  </a:cubicBezTo>
                  <a:cubicBezTo>
                    <a:pt x="108" y="0"/>
                    <a:pt x="116" y="0"/>
                    <a:pt x="125" y="0"/>
                  </a:cubicBezTo>
                  <a:cubicBezTo>
                    <a:pt x="126" y="0"/>
                    <a:pt x="127" y="1"/>
                    <a:pt x="127" y="2"/>
                  </a:cubicBezTo>
                  <a:cubicBezTo>
                    <a:pt x="130" y="9"/>
                    <a:pt x="131" y="16"/>
                    <a:pt x="134" y="23"/>
                  </a:cubicBezTo>
                  <a:cubicBezTo>
                    <a:pt x="134" y="24"/>
                    <a:pt x="135" y="25"/>
                    <a:pt x="136" y="25"/>
                  </a:cubicBezTo>
                  <a:cubicBezTo>
                    <a:pt x="155" y="25"/>
                    <a:pt x="173" y="25"/>
                    <a:pt x="192" y="25"/>
                  </a:cubicBezTo>
                  <a:cubicBezTo>
                    <a:pt x="193" y="25"/>
                    <a:pt x="194" y="24"/>
                    <a:pt x="194" y="23"/>
                  </a:cubicBezTo>
                  <a:cubicBezTo>
                    <a:pt x="194" y="16"/>
                    <a:pt x="194" y="9"/>
                    <a:pt x="194" y="2"/>
                  </a:cubicBezTo>
                  <a:cubicBezTo>
                    <a:pt x="194" y="2"/>
                    <a:pt x="195" y="0"/>
                    <a:pt x="196" y="0"/>
                  </a:cubicBezTo>
                  <a:cubicBezTo>
                    <a:pt x="205" y="0"/>
                    <a:pt x="213" y="0"/>
                    <a:pt x="221" y="0"/>
                  </a:cubicBezTo>
                  <a:cubicBezTo>
                    <a:pt x="222" y="0"/>
                    <a:pt x="223" y="2"/>
                    <a:pt x="223" y="3"/>
                  </a:cubicBezTo>
                  <a:cubicBezTo>
                    <a:pt x="224" y="9"/>
                    <a:pt x="223" y="16"/>
                    <a:pt x="224" y="23"/>
                  </a:cubicBezTo>
                  <a:cubicBezTo>
                    <a:pt x="224" y="23"/>
                    <a:pt x="225" y="25"/>
                    <a:pt x="226" y="25"/>
                  </a:cubicBezTo>
                  <a:cubicBezTo>
                    <a:pt x="236" y="25"/>
                    <a:pt x="246" y="25"/>
                    <a:pt x="256" y="25"/>
                  </a:cubicBezTo>
                  <a:close/>
                  <a:moveTo>
                    <a:pt x="364" y="55"/>
                  </a:moveTo>
                  <a:cubicBezTo>
                    <a:pt x="363" y="55"/>
                    <a:pt x="363" y="55"/>
                    <a:pt x="362" y="55"/>
                  </a:cubicBezTo>
                  <a:cubicBezTo>
                    <a:pt x="345" y="55"/>
                    <a:pt x="328" y="54"/>
                    <a:pt x="311" y="55"/>
                  </a:cubicBezTo>
                  <a:cubicBezTo>
                    <a:pt x="310" y="55"/>
                    <a:pt x="308" y="56"/>
                    <a:pt x="307" y="56"/>
                  </a:cubicBezTo>
                  <a:cubicBezTo>
                    <a:pt x="295" y="81"/>
                    <a:pt x="279" y="103"/>
                    <a:pt x="257" y="120"/>
                  </a:cubicBezTo>
                  <a:cubicBezTo>
                    <a:pt x="257" y="121"/>
                    <a:pt x="257" y="121"/>
                    <a:pt x="256" y="121"/>
                  </a:cubicBezTo>
                  <a:cubicBezTo>
                    <a:pt x="257" y="122"/>
                    <a:pt x="257" y="122"/>
                    <a:pt x="258" y="122"/>
                  </a:cubicBezTo>
                  <a:cubicBezTo>
                    <a:pt x="300" y="111"/>
                    <a:pt x="335" y="90"/>
                    <a:pt x="363" y="56"/>
                  </a:cubicBezTo>
                  <a:cubicBezTo>
                    <a:pt x="363" y="56"/>
                    <a:pt x="364" y="55"/>
                    <a:pt x="364" y="55"/>
                  </a:cubicBezTo>
                  <a:close/>
                  <a:moveTo>
                    <a:pt x="87" y="55"/>
                  </a:moveTo>
                  <a:cubicBezTo>
                    <a:pt x="79" y="55"/>
                    <a:pt x="71" y="54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5"/>
                    <a:pt x="61" y="56"/>
                    <a:pt x="62" y="56"/>
                  </a:cubicBezTo>
                  <a:cubicBezTo>
                    <a:pt x="86" y="86"/>
                    <a:pt x="118" y="107"/>
                    <a:pt x="155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8"/>
                    <a:pt x="156" y="118"/>
                    <a:pt x="156" y="117"/>
                  </a:cubicBezTo>
                  <a:cubicBezTo>
                    <a:pt x="137" y="100"/>
                    <a:pt x="124" y="79"/>
                    <a:pt x="114" y="56"/>
                  </a:cubicBezTo>
                  <a:cubicBezTo>
                    <a:pt x="114" y="55"/>
                    <a:pt x="112" y="55"/>
                    <a:pt x="111" y="55"/>
                  </a:cubicBezTo>
                  <a:cubicBezTo>
                    <a:pt x="103" y="54"/>
                    <a:pt x="95" y="55"/>
                    <a:pt x="87" y="55"/>
                  </a:cubicBezTo>
                  <a:close/>
                  <a:moveTo>
                    <a:pt x="224" y="81"/>
                  </a:moveTo>
                  <a:cubicBezTo>
                    <a:pt x="224" y="89"/>
                    <a:pt x="224" y="98"/>
                    <a:pt x="224" y="106"/>
                  </a:cubicBezTo>
                  <a:cubicBezTo>
                    <a:pt x="224" y="107"/>
                    <a:pt x="224" y="107"/>
                    <a:pt x="224" y="108"/>
                  </a:cubicBezTo>
                  <a:cubicBezTo>
                    <a:pt x="224" y="108"/>
                    <a:pt x="225" y="107"/>
                    <a:pt x="226" y="107"/>
                  </a:cubicBezTo>
                  <a:cubicBezTo>
                    <a:pt x="246" y="94"/>
                    <a:pt x="261" y="76"/>
                    <a:pt x="273" y="56"/>
                  </a:cubicBezTo>
                  <a:cubicBezTo>
                    <a:pt x="274" y="56"/>
                    <a:pt x="273" y="55"/>
                    <a:pt x="272" y="55"/>
                  </a:cubicBezTo>
                  <a:cubicBezTo>
                    <a:pt x="257" y="54"/>
                    <a:pt x="241" y="54"/>
                    <a:pt x="225" y="55"/>
                  </a:cubicBezTo>
                  <a:cubicBezTo>
                    <a:pt x="225" y="55"/>
                    <a:pt x="224" y="56"/>
                    <a:pt x="224" y="56"/>
                  </a:cubicBezTo>
                  <a:cubicBezTo>
                    <a:pt x="224" y="65"/>
                    <a:pt x="224" y="73"/>
                    <a:pt x="224" y="81"/>
                  </a:cubicBezTo>
                  <a:close/>
                  <a:moveTo>
                    <a:pt x="194" y="82"/>
                  </a:moveTo>
                  <a:cubicBezTo>
                    <a:pt x="194" y="73"/>
                    <a:pt x="194" y="65"/>
                    <a:pt x="194" y="56"/>
                  </a:cubicBezTo>
                  <a:cubicBezTo>
                    <a:pt x="194" y="56"/>
                    <a:pt x="193" y="55"/>
                    <a:pt x="192" y="55"/>
                  </a:cubicBezTo>
                  <a:cubicBezTo>
                    <a:pt x="178" y="54"/>
                    <a:pt x="163" y="54"/>
                    <a:pt x="148" y="55"/>
                  </a:cubicBezTo>
                  <a:cubicBezTo>
                    <a:pt x="148" y="55"/>
                    <a:pt x="147" y="56"/>
                    <a:pt x="147" y="56"/>
                  </a:cubicBezTo>
                  <a:cubicBezTo>
                    <a:pt x="158" y="77"/>
                    <a:pt x="172" y="95"/>
                    <a:pt x="192" y="109"/>
                  </a:cubicBezTo>
                  <a:cubicBezTo>
                    <a:pt x="193" y="109"/>
                    <a:pt x="193" y="109"/>
                    <a:pt x="194" y="109"/>
                  </a:cubicBezTo>
                  <a:cubicBezTo>
                    <a:pt x="194" y="109"/>
                    <a:pt x="194" y="108"/>
                    <a:pt x="194" y="108"/>
                  </a:cubicBezTo>
                  <a:cubicBezTo>
                    <a:pt x="194" y="99"/>
                    <a:pt x="194" y="91"/>
                    <a:pt x="19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xmlns="" id="{38A2A830-AF34-4C5B-87EB-D628018EE32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-41275"/>
              <a:ext cx="2108200" cy="860425"/>
            </a:xfrm>
            <a:custGeom>
              <a:avLst/>
              <a:gdLst>
                <a:gd name="T0" fmla="*/ 45 w 424"/>
                <a:gd name="T1" fmla="*/ 148 h 173"/>
                <a:gd name="T2" fmla="*/ 32 w 424"/>
                <a:gd name="T3" fmla="*/ 170 h 173"/>
                <a:gd name="T4" fmla="*/ 3 w 424"/>
                <a:gd name="T5" fmla="*/ 173 h 173"/>
                <a:gd name="T6" fmla="*/ 155 w 424"/>
                <a:gd name="T7" fmla="*/ 28 h 173"/>
                <a:gd name="T8" fmla="*/ 424 w 424"/>
                <a:gd name="T9" fmla="*/ 171 h 173"/>
                <a:gd name="T10" fmla="*/ 395 w 424"/>
                <a:gd name="T11" fmla="*/ 173 h 173"/>
                <a:gd name="T12" fmla="*/ 382 w 424"/>
                <a:gd name="T13" fmla="*/ 149 h 173"/>
                <a:gd name="T14" fmla="*/ 321 w 424"/>
                <a:gd name="T15" fmla="*/ 148 h 173"/>
                <a:gd name="T16" fmla="*/ 325 w 424"/>
                <a:gd name="T17" fmla="*/ 171 h 173"/>
                <a:gd name="T18" fmla="*/ 297 w 424"/>
                <a:gd name="T19" fmla="*/ 173 h 173"/>
                <a:gd name="T20" fmla="*/ 287 w 424"/>
                <a:gd name="T21" fmla="*/ 149 h 173"/>
                <a:gd name="T22" fmla="*/ 225 w 424"/>
                <a:gd name="T23" fmla="*/ 148 h 173"/>
                <a:gd name="T24" fmla="*/ 223 w 424"/>
                <a:gd name="T25" fmla="*/ 170 h 173"/>
                <a:gd name="T26" fmla="*/ 196 w 424"/>
                <a:gd name="T27" fmla="*/ 173 h 173"/>
                <a:gd name="T28" fmla="*/ 194 w 424"/>
                <a:gd name="T29" fmla="*/ 150 h 173"/>
                <a:gd name="T30" fmla="*/ 137 w 424"/>
                <a:gd name="T31" fmla="*/ 148 h 173"/>
                <a:gd name="T32" fmla="*/ 128 w 424"/>
                <a:gd name="T33" fmla="*/ 171 h 173"/>
                <a:gd name="T34" fmla="*/ 99 w 424"/>
                <a:gd name="T35" fmla="*/ 173 h 173"/>
                <a:gd name="T36" fmla="*/ 103 w 424"/>
                <a:gd name="T37" fmla="*/ 150 h 173"/>
                <a:gd name="T38" fmla="*/ 73 w 424"/>
                <a:gd name="T39" fmla="*/ 148 h 173"/>
                <a:gd name="T40" fmla="*/ 359 w 424"/>
                <a:gd name="T41" fmla="*/ 118 h 173"/>
                <a:gd name="T42" fmla="*/ 360 w 424"/>
                <a:gd name="T43" fmla="*/ 116 h 173"/>
                <a:gd name="T44" fmla="*/ 258 w 424"/>
                <a:gd name="T45" fmla="*/ 56 h 173"/>
                <a:gd name="T46" fmla="*/ 305 w 424"/>
                <a:gd name="T47" fmla="*/ 116 h 173"/>
                <a:gd name="T48" fmla="*/ 333 w 424"/>
                <a:gd name="T49" fmla="*/ 118 h 173"/>
                <a:gd name="T50" fmla="*/ 113 w 424"/>
                <a:gd name="T51" fmla="*/ 118 h 173"/>
                <a:gd name="T52" fmla="*/ 157 w 424"/>
                <a:gd name="T53" fmla="*/ 59 h 173"/>
                <a:gd name="T54" fmla="*/ 157 w 424"/>
                <a:gd name="T55" fmla="*/ 58 h 173"/>
                <a:gd name="T56" fmla="*/ 64 w 424"/>
                <a:gd name="T57" fmla="*/ 118 h 173"/>
                <a:gd name="T58" fmla="*/ 90 w 424"/>
                <a:gd name="T59" fmla="*/ 118 h 173"/>
                <a:gd name="T60" fmla="*/ 269 w 424"/>
                <a:gd name="T61" fmla="*/ 118 h 173"/>
                <a:gd name="T62" fmla="*/ 225 w 424"/>
                <a:gd name="T63" fmla="*/ 68 h 173"/>
                <a:gd name="T64" fmla="*/ 224 w 424"/>
                <a:gd name="T65" fmla="*/ 69 h 173"/>
                <a:gd name="T66" fmla="*/ 225 w 424"/>
                <a:gd name="T67" fmla="*/ 118 h 173"/>
                <a:gd name="T68" fmla="*/ 194 w 424"/>
                <a:gd name="T69" fmla="*/ 93 h 173"/>
                <a:gd name="T70" fmla="*/ 194 w 424"/>
                <a:gd name="T71" fmla="*/ 68 h 173"/>
                <a:gd name="T72" fmla="*/ 150 w 424"/>
                <a:gd name="T73" fmla="*/ 116 h 173"/>
                <a:gd name="T74" fmla="*/ 192 w 424"/>
                <a:gd name="T75" fmla="*/ 118 h 173"/>
                <a:gd name="T76" fmla="*/ 194 w 424"/>
                <a:gd name="T77" fmla="*/ 9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4" h="173">
                  <a:moveTo>
                    <a:pt x="73" y="148"/>
                  </a:moveTo>
                  <a:cubicBezTo>
                    <a:pt x="64" y="148"/>
                    <a:pt x="55" y="148"/>
                    <a:pt x="45" y="148"/>
                  </a:cubicBezTo>
                  <a:cubicBezTo>
                    <a:pt x="44" y="148"/>
                    <a:pt x="43" y="149"/>
                    <a:pt x="42" y="149"/>
                  </a:cubicBezTo>
                  <a:cubicBezTo>
                    <a:pt x="39" y="156"/>
                    <a:pt x="36" y="164"/>
                    <a:pt x="32" y="170"/>
                  </a:cubicBezTo>
                  <a:cubicBezTo>
                    <a:pt x="32" y="171"/>
                    <a:pt x="30" y="173"/>
                    <a:pt x="29" y="173"/>
                  </a:cubicBezTo>
                  <a:cubicBezTo>
                    <a:pt x="21" y="173"/>
                    <a:pt x="12" y="173"/>
                    <a:pt x="3" y="173"/>
                  </a:cubicBezTo>
                  <a:cubicBezTo>
                    <a:pt x="1" y="173"/>
                    <a:pt x="0" y="172"/>
                    <a:pt x="1" y="170"/>
                  </a:cubicBezTo>
                  <a:cubicBezTo>
                    <a:pt x="28" y="96"/>
                    <a:pt x="80" y="48"/>
                    <a:pt x="155" y="28"/>
                  </a:cubicBezTo>
                  <a:cubicBezTo>
                    <a:pt x="258" y="0"/>
                    <a:pt x="366" y="50"/>
                    <a:pt x="413" y="144"/>
                  </a:cubicBezTo>
                  <a:cubicBezTo>
                    <a:pt x="417" y="153"/>
                    <a:pt x="420" y="162"/>
                    <a:pt x="424" y="171"/>
                  </a:cubicBezTo>
                  <a:cubicBezTo>
                    <a:pt x="424" y="171"/>
                    <a:pt x="423" y="173"/>
                    <a:pt x="422" y="173"/>
                  </a:cubicBezTo>
                  <a:cubicBezTo>
                    <a:pt x="413" y="173"/>
                    <a:pt x="404" y="173"/>
                    <a:pt x="395" y="173"/>
                  </a:cubicBezTo>
                  <a:cubicBezTo>
                    <a:pt x="394" y="173"/>
                    <a:pt x="393" y="172"/>
                    <a:pt x="392" y="171"/>
                  </a:cubicBezTo>
                  <a:cubicBezTo>
                    <a:pt x="389" y="164"/>
                    <a:pt x="386" y="156"/>
                    <a:pt x="382" y="149"/>
                  </a:cubicBezTo>
                  <a:cubicBezTo>
                    <a:pt x="382" y="148"/>
                    <a:pt x="381" y="148"/>
                    <a:pt x="380" y="148"/>
                  </a:cubicBezTo>
                  <a:cubicBezTo>
                    <a:pt x="360" y="148"/>
                    <a:pt x="340" y="148"/>
                    <a:pt x="321" y="148"/>
                  </a:cubicBezTo>
                  <a:cubicBezTo>
                    <a:pt x="320" y="148"/>
                    <a:pt x="319" y="149"/>
                    <a:pt x="319" y="150"/>
                  </a:cubicBezTo>
                  <a:cubicBezTo>
                    <a:pt x="321" y="157"/>
                    <a:pt x="323" y="164"/>
                    <a:pt x="325" y="171"/>
                  </a:cubicBezTo>
                  <a:cubicBezTo>
                    <a:pt x="325" y="171"/>
                    <a:pt x="325" y="173"/>
                    <a:pt x="324" y="173"/>
                  </a:cubicBezTo>
                  <a:cubicBezTo>
                    <a:pt x="315" y="173"/>
                    <a:pt x="306" y="173"/>
                    <a:pt x="297" y="173"/>
                  </a:cubicBezTo>
                  <a:cubicBezTo>
                    <a:pt x="296" y="173"/>
                    <a:pt x="295" y="172"/>
                    <a:pt x="295" y="171"/>
                  </a:cubicBezTo>
                  <a:cubicBezTo>
                    <a:pt x="292" y="164"/>
                    <a:pt x="290" y="156"/>
                    <a:pt x="287" y="149"/>
                  </a:cubicBezTo>
                  <a:cubicBezTo>
                    <a:pt x="287" y="148"/>
                    <a:pt x="286" y="148"/>
                    <a:pt x="285" y="148"/>
                  </a:cubicBezTo>
                  <a:cubicBezTo>
                    <a:pt x="265" y="148"/>
                    <a:pt x="245" y="148"/>
                    <a:pt x="225" y="148"/>
                  </a:cubicBezTo>
                  <a:cubicBezTo>
                    <a:pt x="225" y="148"/>
                    <a:pt x="224" y="149"/>
                    <a:pt x="224" y="150"/>
                  </a:cubicBezTo>
                  <a:cubicBezTo>
                    <a:pt x="223" y="156"/>
                    <a:pt x="224" y="163"/>
                    <a:pt x="223" y="170"/>
                  </a:cubicBezTo>
                  <a:cubicBezTo>
                    <a:pt x="223" y="171"/>
                    <a:pt x="222" y="173"/>
                    <a:pt x="221" y="173"/>
                  </a:cubicBezTo>
                  <a:cubicBezTo>
                    <a:pt x="213" y="173"/>
                    <a:pt x="205" y="173"/>
                    <a:pt x="196" y="173"/>
                  </a:cubicBezTo>
                  <a:cubicBezTo>
                    <a:pt x="195" y="173"/>
                    <a:pt x="194" y="171"/>
                    <a:pt x="194" y="170"/>
                  </a:cubicBezTo>
                  <a:cubicBezTo>
                    <a:pt x="194" y="164"/>
                    <a:pt x="194" y="157"/>
                    <a:pt x="194" y="150"/>
                  </a:cubicBezTo>
                  <a:cubicBezTo>
                    <a:pt x="194" y="149"/>
                    <a:pt x="193" y="148"/>
                    <a:pt x="192" y="148"/>
                  </a:cubicBezTo>
                  <a:cubicBezTo>
                    <a:pt x="174" y="148"/>
                    <a:pt x="156" y="148"/>
                    <a:pt x="137" y="148"/>
                  </a:cubicBezTo>
                  <a:cubicBezTo>
                    <a:pt x="137" y="148"/>
                    <a:pt x="135" y="149"/>
                    <a:pt x="135" y="149"/>
                  </a:cubicBezTo>
                  <a:cubicBezTo>
                    <a:pt x="133" y="156"/>
                    <a:pt x="131" y="164"/>
                    <a:pt x="128" y="171"/>
                  </a:cubicBezTo>
                  <a:cubicBezTo>
                    <a:pt x="128" y="172"/>
                    <a:pt x="127" y="173"/>
                    <a:pt x="126" y="173"/>
                  </a:cubicBezTo>
                  <a:cubicBezTo>
                    <a:pt x="117" y="173"/>
                    <a:pt x="108" y="173"/>
                    <a:pt x="99" y="173"/>
                  </a:cubicBezTo>
                  <a:cubicBezTo>
                    <a:pt x="99" y="173"/>
                    <a:pt x="98" y="171"/>
                    <a:pt x="98" y="171"/>
                  </a:cubicBezTo>
                  <a:cubicBezTo>
                    <a:pt x="100" y="164"/>
                    <a:pt x="101" y="157"/>
                    <a:pt x="103" y="150"/>
                  </a:cubicBezTo>
                  <a:cubicBezTo>
                    <a:pt x="103" y="149"/>
                    <a:pt x="102" y="148"/>
                    <a:pt x="102" y="148"/>
                  </a:cubicBezTo>
                  <a:cubicBezTo>
                    <a:pt x="92" y="148"/>
                    <a:pt x="83" y="148"/>
                    <a:pt x="73" y="148"/>
                  </a:cubicBezTo>
                  <a:close/>
                  <a:moveTo>
                    <a:pt x="333" y="118"/>
                  </a:moveTo>
                  <a:cubicBezTo>
                    <a:pt x="342" y="118"/>
                    <a:pt x="350" y="118"/>
                    <a:pt x="359" y="118"/>
                  </a:cubicBezTo>
                  <a:cubicBezTo>
                    <a:pt x="359" y="118"/>
                    <a:pt x="360" y="118"/>
                    <a:pt x="360" y="118"/>
                  </a:cubicBezTo>
                  <a:cubicBezTo>
                    <a:pt x="360" y="117"/>
                    <a:pt x="360" y="117"/>
                    <a:pt x="360" y="116"/>
                  </a:cubicBezTo>
                  <a:cubicBezTo>
                    <a:pt x="332" y="86"/>
                    <a:pt x="299" y="66"/>
                    <a:pt x="259" y="56"/>
                  </a:cubicBezTo>
                  <a:cubicBezTo>
                    <a:pt x="259" y="56"/>
                    <a:pt x="258" y="56"/>
                    <a:pt x="258" y="56"/>
                  </a:cubicBezTo>
                  <a:cubicBezTo>
                    <a:pt x="258" y="56"/>
                    <a:pt x="258" y="57"/>
                    <a:pt x="259" y="57"/>
                  </a:cubicBezTo>
                  <a:cubicBezTo>
                    <a:pt x="278" y="74"/>
                    <a:pt x="293" y="94"/>
                    <a:pt x="305" y="116"/>
                  </a:cubicBezTo>
                  <a:cubicBezTo>
                    <a:pt x="305" y="117"/>
                    <a:pt x="307" y="118"/>
                    <a:pt x="308" y="118"/>
                  </a:cubicBezTo>
                  <a:cubicBezTo>
                    <a:pt x="316" y="118"/>
                    <a:pt x="325" y="118"/>
                    <a:pt x="333" y="118"/>
                  </a:cubicBezTo>
                  <a:close/>
                  <a:moveTo>
                    <a:pt x="90" y="118"/>
                  </a:moveTo>
                  <a:cubicBezTo>
                    <a:pt x="98" y="118"/>
                    <a:pt x="106" y="118"/>
                    <a:pt x="113" y="118"/>
                  </a:cubicBezTo>
                  <a:cubicBezTo>
                    <a:pt x="114" y="118"/>
                    <a:pt x="116" y="117"/>
                    <a:pt x="116" y="116"/>
                  </a:cubicBezTo>
                  <a:cubicBezTo>
                    <a:pt x="127" y="95"/>
                    <a:pt x="140" y="76"/>
                    <a:pt x="157" y="59"/>
                  </a:cubicBezTo>
                  <a:cubicBezTo>
                    <a:pt x="158" y="59"/>
                    <a:pt x="158" y="58"/>
                    <a:pt x="158" y="58"/>
                  </a:cubicBezTo>
                  <a:cubicBezTo>
                    <a:pt x="158" y="58"/>
                    <a:pt x="157" y="58"/>
                    <a:pt x="157" y="58"/>
                  </a:cubicBezTo>
                  <a:cubicBezTo>
                    <a:pt x="121" y="69"/>
                    <a:pt x="90" y="88"/>
                    <a:pt x="65" y="116"/>
                  </a:cubicBezTo>
                  <a:cubicBezTo>
                    <a:pt x="65" y="117"/>
                    <a:pt x="65" y="117"/>
                    <a:pt x="64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74" y="118"/>
                    <a:pt x="82" y="118"/>
                    <a:pt x="90" y="118"/>
                  </a:cubicBezTo>
                  <a:close/>
                  <a:moveTo>
                    <a:pt x="247" y="118"/>
                  </a:moveTo>
                  <a:cubicBezTo>
                    <a:pt x="255" y="118"/>
                    <a:pt x="262" y="118"/>
                    <a:pt x="269" y="118"/>
                  </a:cubicBezTo>
                  <a:cubicBezTo>
                    <a:pt x="270" y="118"/>
                    <a:pt x="270" y="117"/>
                    <a:pt x="270" y="116"/>
                  </a:cubicBezTo>
                  <a:cubicBezTo>
                    <a:pt x="258" y="98"/>
                    <a:pt x="244" y="81"/>
                    <a:pt x="225" y="68"/>
                  </a:cubicBezTo>
                  <a:cubicBezTo>
                    <a:pt x="225" y="68"/>
                    <a:pt x="224" y="68"/>
                    <a:pt x="224" y="67"/>
                  </a:cubicBezTo>
                  <a:cubicBezTo>
                    <a:pt x="224" y="68"/>
                    <a:pt x="224" y="69"/>
                    <a:pt x="224" y="69"/>
                  </a:cubicBezTo>
                  <a:cubicBezTo>
                    <a:pt x="224" y="85"/>
                    <a:pt x="224" y="100"/>
                    <a:pt x="224" y="116"/>
                  </a:cubicBezTo>
                  <a:cubicBezTo>
                    <a:pt x="224" y="117"/>
                    <a:pt x="225" y="118"/>
                    <a:pt x="225" y="118"/>
                  </a:cubicBezTo>
                  <a:cubicBezTo>
                    <a:pt x="233" y="118"/>
                    <a:pt x="240" y="118"/>
                    <a:pt x="247" y="118"/>
                  </a:cubicBezTo>
                  <a:close/>
                  <a:moveTo>
                    <a:pt x="194" y="93"/>
                  </a:moveTo>
                  <a:cubicBezTo>
                    <a:pt x="194" y="85"/>
                    <a:pt x="194" y="78"/>
                    <a:pt x="194" y="70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3" y="68"/>
                    <a:pt x="192" y="68"/>
                    <a:pt x="192" y="69"/>
                  </a:cubicBezTo>
                  <a:cubicBezTo>
                    <a:pt x="175" y="82"/>
                    <a:pt x="161" y="98"/>
                    <a:pt x="150" y="116"/>
                  </a:cubicBezTo>
                  <a:cubicBezTo>
                    <a:pt x="150" y="117"/>
                    <a:pt x="151" y="118"/>
                    <a:pt x="151" y="118"/>
                  </a:cubicBezTo>
                  <a:cubicBezTo>
                    <a:pt x="165" y="118"/>
                    <a:pt x="179" y="118"/>
                    <a:pt x="192" y="118"/>
                  </a:cubicBezTo>
                  <a:cubicBezTo>
                    <a:pt x="193" y="118"/>
                    <a:pt x="194" y="117"/>
                    <a:pt x="194" y="116"/>
                  </a:cubicBezTo>
                  <a:cubicBezTo>
                    <a:pt x="194" y="108"/>
                    <a:pt x="194" y="101"/>
                    <a:pt x="194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xmlns="" id="{EF5B3A25-E6A5-43A3-AFD2-A4D64B803FE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3951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4 h 73"/>
                <a:gd name="T12" fmla="*/ 32 w 124"/>
                <a:gd name="T13" fmla="*/ 73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1 h 73"/>
                <a:gd name="T24" fmla="*/ 34 w 124"/>
                <a:gd name="T25" fmla="*/ 49 h 73"/>
                <a:gd name="T26" fmla="*/ 37 w 124"/>
                <a:gd name="T27" fmla="*/ 42 h 73"/>
                <a:gd name="T28" fmla="*/ 47 w 124"/>
                <a:gd name="T29" fmla="*/ 11 h 73"/>
                <a:gd name="T30" fmla="*/ 62 w 124"/>
                <a:gd name="T31" fmla="*/ 1 h 73"/>
                <a:gd name="T32" fmla="*/ 76 w 124"/>
                <a:gd name="T33" fmla="*/ 11 h 73"/>
                <a:gd name="T34" fmla="*/ 89 w 124"/>
                <a:gd name="T35" fmla="*/ 47 h 73"/>
                <a:gd name="T36" fmla="*/ 90 w 124"/>
                <a:gd name="T37" fmla="*/ 49 h 73"/>
                <a:gd name="T38" fmla="*/ 90 w 124"/>
                <a:gd name="T39" fmla="*/ 47 h 73"/>
                <a:gd name="T40" fmla="*/ 101 w 124"/>
                <a:gd name="T41" fmla="*/ 10 h 73"/>
                <a:gd name="T42" fmla="*/ 113 w 124"/>
                <a:gd name="T43" fmla="*/ 1 h 73"/>
                <a:gd name="T44" fmla="*/ 121 w 124"/>
                <a:gd name="T45" fmla="*/ 13 h 73"/>
                <a:gd name="T46" fmla="*/ 104 w 124"/>
                <a:gd name="T47" fmla="*/ 63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7" y="37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7"/>
                    <a:pt x="51" y="50"/>
                    <a:pt x="46" y="64"/>
                  </a:cubicBezTo>
                  <a:cubicBezTo>
                    <a:pt x="44" y="70"/>
                    <a:pt x="40" y="73"/>
                    <a:pt x="32" y="73"/>
                  </a:cubicBezTo>
                  <a:cubicBezTo>
                    <a:pt x="25" y="72"/>
                    <a:pt x="21" y="69"/>
                    <a:pt x="19" y="63"/>
                  </a:cubicBezTo>
                  <a:cubicBezTo>
                    <a:pt x="13" y="47"/>
                    <a:pt x="8" y="30"/>
                    <a:pt x="2" y="14"/>
                  </a:cubicBezTo>
                  <a:cubicBezTo>
                    <a:pt x="0" y="8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8"/>
                    <a:pt x="28" y="30"/>
                    <a:pt x="31" y="41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7" y="11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69" y="1"/>
                    <a:pt x="73" y="4"/>
                    <a:pt x="76" y="11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9"/>
                    <a:pt x="90" y="49"/>
                  </a:cubicBezTo>
                  <a:cubicBezTo>
                    <a:pt x="90" y="48"/>
                    <a:pt x="90" y="48"/>
                    <a:pt x="90" y="47"/>
                  </a:cubicBezTo>
                  <a:cubicBezTo>
                    <a:pt x="94" y="35"/>
                    <a:pt x="97" y="23"/>
                    <a:pt x="101" y="10"/>
                  </a:cubicBezTo>
                  <a:cubicBezTo>
                    <a:pt x="103" y="3"/>
                    <a:pt x="106" y="1"/>
                    <a:pt x="113" y="1"/>
                  </a:cubicBezTo>
                  <a:cubicBezTo>
                    <a:pt x="121" y="2"/>
                    <a:pt x="124" y="6"/>
                    <a:pt x="121" y="13"/>
                  </a:cubicBezTo>
                  <a:cubicBezTo>
                    <a:pt x="116" y="30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xmlns="" id="{456DF07A-687E-4C5E-A327-5581E21105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6838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7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6 h 73"/>
                <a:gd name="T22" fmla="*/ 31 w 124"/>
                <a:gd name="T23" fmla="*/ 40 h 73"/>
                <a:gd name="T24" fmla="*/ 33 w 124"/>
                <a:gd name="T25" fmla="*/ 48 h 73"/>
                <a:gd name="T26" fmla="*/ 34 w 124"/>
                <a:gd name="T27" fmla="*/ 49 h 73"/>
                <a:gd name="T28" fmla="*/ 35 w 124"/>
                <a:gd name="T29" fmla="*/ 48 h 73"/>
                <a:gd name="T30" fmla="*/ 47 w 124"/>
                <a:gd name="T31" fmla="*/ 12 h 73"/>
                <a:gd name="T32" fmla="*/ 62 w 124"/>
                <a:gd name="T33" fmla="*/ 1 h 73"/>
                <a:gd name="T34" fmla="*/ 76 w 124"/>
                <a:gd name="T35" fmla="*/ 12 h 73"/>
                <a:gd name="T36" fmla="*/ 89 w 124"/>
                <a:gd name="T37" fmla="*/ 48 h 73"/>
                <a:gd name="T38" fmla="*/ 90 w 124"/>
                <a:gd name="T39" fmla="*/ 49 h 73"/>
                <a:gd name="T40" fmla="*/ 90 w 124"/>
                <a:gd name="T41" fmla="*/ 48 h 73"/>
                <a:gd name="T42" fmla="*/ 101 w 124"/>
                <a:gd name="T43" fmla="*/ 10 h 73"/>
                <a:gd name="T44" fmla="*/ 112 w 124"/>
                <a:gd name="T45" fmla="*/ 1 h 73"/>
                <a:gd name="T46" fmla="*/ 121 w 124"/>
                <a:gd name="T47" fmla="*/ 14 h 73"/>
                <a:gd name="T48" fmla="*/ 104 w 124"/>
                <a:gd name="T49" fmla="*/ 63 h 73"/>
                <a:gd name="T50" fmla="*/ 90 w 124"/>
                <a:gd name="T51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3" y="22"/>
                    <a:pt x="62" y="22"/>
                    <a:pt x="62" y="21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56" y="36"/>
                    <a:pt x="52" y="50"/>
                    <a:pt x="47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9"/>
                    <a:pt x="0" y="5"/>
                    <a:pt x="6" y="2"/>
                  </a:cubicBezTo>
                  <a:cubicBezTo>
                    <a:pt x="12" y="0"/>
                    <a:pt x="19" y="1"/>
                    <a:pt x="21" y="6"/>
                  </a:cubicBezTo>
                  <a:cubicBezTo>
                    <a:pt x="25" y="17"/>
                    <a:pt x="28" y="29"/>
                    <a:pt x="31" y="40"/>
                  </a:cubicBezTo>
                  <a:cubicBezTo>
                    <a:pt x="32" y="42"/>
                    <a:pt x="33" y="45"/>
                    <a:pt x="33" y="48"/>
                  </a:cubicBezTo>
                  <a:cubicBezTo>
                    <a:pt x="33" y="48"/>
                    <a:pt x="34" y="49"/>
                    <a:pt x="34" y="49"/>
                  </a:cubicBezTo>
                  <a:cubicBezTo>
                    <a:pt x="34" y="49"/>
                    <a:pt x="34" y="48"/>
                    <a:pt x="35" y="48"/>
                  </a:cubicBezTo>
                  <a:cubicBezTo>
                    <a:pt x="39" y="36"/>
                    <a:pt x="43" y="24"/>
                    <a:pt x="47" y="12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70" y="1"/>
                    <a:pt x="73" y="4"/>
                    <a:pt x="76" y="12"/>
                  </a:cubicBezTo>
                  <a:cubicBezTo>
                    <a:pt x="81" y="23"/>
                    <a:pt x="85" y="36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94" y="35"/>
                    <a:pt x="98" y="23"/>
                    <a:pt x="101" y="10"/>
                  </a:cubicBezTo>
                  <a:cubicBezTo>
                    <a:pt x="103" y="5"/>
                    <a:pt x="106" y="2"/>
                    <a:pt x="112" y="1"/>
                  </a:cubicBezTo>
                  <a:cubicBezTo>
                    <a:pt x="121" y="1"/>
                    <a:pt x="124" y="6"/>
                    <a:pt x="121" y="14"/>
                  </a:cubicBezTo>
                  <a:cubicBezTo>
                    <a:pt x="116" y="31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xmlns="" id="{A1EFA999-3BA8-4B1E-B6F4-0A44A111E24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1188" y="952500"/>
              <a:ext cx="615950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4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2 h 73"/>
                <a:gd name="T24" fmla="*/ 34 w 124"/>
                <a:gd name="T25" fmla="*/ 49 h 73"/>
                <a:gd name="T26" fmla="*/ 37 w 124"/>
                <a:gd name="T27" fmla="*/ 42 h 73"/>
                <a:gd name="T28" fmla="*/ 48 w 124"/>
                <a:gd name="T29" fmla="*/ 10 h 73"/>
                <a:gd name="T30" fmla="*/ 62 w 124"/>
                <a:gd name="T31" fmla="*/ 1 h 73"/>
                <a:gd name="T32" fmla="*/ 76 w 124"/>
                <a:gd name="T33" fmla="*/ 10 h 73"/>
                <a:gd name="T34" fmla="*/ 89 w 124"/>
                <a:gd name="T35" fmla="*/ 47 h 73"/>
                <a:gd name="T36" fmla="*/ 90 w 124"/>
                <a:gd name="T37" fmla="*/ 49 h 73"/>
                <a:gd name="T38" fmla="*/ 91 w 124"/>
                <a:gd name="T39" fmla="*/ 47 h 73"/>
                <a:gd name="T40" fmla="*/ 101 w 124"/>
                <a:gd name="T41" fmla="*/ 10 h 73"/>
                <a:gd name="T42" fmla="*/ 116 w 124"/>
                <a:gd name="T43" fmla="*/ 2 h 73"/>
                <a:gd name="T44" fmla="*/ 122 w 124"/>
                <a:gd name="T45" fmla="*/ 12 h 73"/>
                <a:gd name="T46" fmla="*/ 104 w 124"/>
                <a:gd name="T47" fmla="*/ 65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4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6"/>
                    <a:pt x="51" y="50"/>
                    <a:pt x="46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7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9"/>
                    <a:pt x="28" y="30"/>
                    <a:pt x="31" y="42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8" y="10"/>
                  </a:cubicBezTo>
                  <a:cubicBezTo>
                    <a:pt x="50" y="3"/>
                    <a:pt x="55" y="1"/>
                    <a:pt x="62" y="1"/>
                  </a:cubicBezTo>
                  <a:cubicBezTo>
                    <a:pt x="69" y="1"/>
                    <a:pt x="73" y="4"/>
                    <a:pt x="76" y="10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8"/>
                    <a:pt x="90" y="48"/>
                    <a:pt x="91" y="47"/>
                  </a:cubicBezTo>
                  <a:cubicBezTo>
                    <a:pt x="94" y="35"/>
                    <a:pt x="98" y="22"/>
                    <a:pt x="101" y="10"/>
                  </a:cubicBezTo>
                  <a:cubicBezTo>
                    <a:pt x="103" y="3"/>
                    <a:pt x="108" y="0"/>
                    <a:pt x="116" y="2"/>
                  </a:cubicBezTo>
                  <a:cubicBezTo>
                    <a:pt x="121" y="3"/>
                    <a:pt x="124" y="7"/>
                    <a:pt x="122" y="12"/>
                  </a:cubicBezTo>
                  <a:cubicBezTo>
                    <a:pt x="116" y="30"/>
                    <a:pt x="110" y="47"/>
                    <a:pt x="104" y="65"/>
                  </a:cubicBezTo>
                  <a:cubicBezTo>
                    <a:pt x="101" y="71"/>
                    <a:pt x="97" y="73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</p:grpSp>
      <p:sp>
        <p:nvSpPr>
          <p:cNvPr id="46" name="TextBox 7">
            <a:extLst>
              <a:ext uri="{FF2B5EF4-FFF2-40B4-BE49-F238E27FC236}">
                <a16:creationId xmlns:a16="http://schemas.microsoft.com/office/drawing/2014/main" xmlns="" id="{AB1D21B3-5EA8-4583-8B39-5C5D45B4127F}"/>
              </a:ext>
            </a:extLst>
          </p:cNvPr>
          <p:cNvSpPr txBox="1"/>
          <p:nvPr userDrawn="1"/>
        </p:nvSpPr>
        <p:spPr bwMode="gray">
          <a:xfrm>
            <a:off x="2622199" y="5403597"/>
            <a:ext cx="1773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twitter.com/giz_gmbh</a:t>
            </a:r>
          </a:p>
        </p:txBody>
      </p:sp>
      <p:sp>
        <p:nvSpPr>
          <p:cNvPr id="47" name="TextBox 7">
            <a:extLst>
              <a:ext uri="{FF2B5EF4-FFF2-40B4-BE49-F238E27FC236}">
                <a16:creationId xmlns:a16="http://schemas.microsoft.com/office/drawing/2014/main" xmlns="" id="{143F2906-482C-48A6-8D87-67C6BCEBAF88}"/>
              </a:ext>
            </a:extLst>
          </p:cNvPr>
          <p:cNvSpPr txBox="1"/>
          <p:nvPr userDrawn="1"/>
        </p:nvSpPr>
        <p:spPr bwMode="gray">
          <a:xfrm>
            <a:off x="5253681" y="5403597"/>
            <a:ext cx="22557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www.facebook.com/gizprofile/</a:t>
            </a:r>
          </a:p>
        </p:txBody>
      </p:sp>
    </p:spTree>
    <p:extLst>
      <p:ext uri="{BB962C8B-B14F-4D97-AF65-F5344CB8AC3E}">
        <p14:creationId xmlns:p14="http://schemas.microsoft.com/office/powerpoint/2010/main" val="839917429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6" y="165100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6" y="165100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1059418" y="6583900"/>
            <a:ext cx="533639" cy="92333"/>
          </a:xfrm>
        </p:spPr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>
          <a:xfrm>
            <a:off x="1783023" y="6583902"/>
            <a:ext cx="5839479" cy="92333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49817" y="6583900"/>
            <a:ext cx="450850" cy="92333"/>
          </a:xfrm>
        </p:spPr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42" name="TextBox 7">
            <a:extLst>
              <a:ext uri="{FF2B5EF4-FFF2-40B4-BE49-F238E27FC236}">
                <a16:creationId xmlns:a16="http://schemas.microsoft.com/office/drawing/2014/main" xmlns="" id="{0ACBC6BD-AF1C-4AC3-B989-7C0851FD4A36}"/>
              </a:ext>
            </a:extLst>
          </p:cNvPr>
          <p:cNvSpPr txBox="1"/>
          <p:nvPr userDrawn="1"/>
        </p:nvSpPr>
        <p:spPr bwMode="gray">
          <a:xfrm>
            <a:off x="784637" y="5403597"/>
            <a:ext cx="8386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www.giz.de</a:t>
            </a:r>
          </a:p>
        </p:txBody>
      </p:sp>
      <p:pic>
        <p:nvPicPr>
          <p:cNvPr id="43" name="Grafik 42" descr="Ein Bild, das Axt, Werkzeug enthält.&#10;&#10;Mit sehr hoher Zuverlässigkeit generierte Beschreibung">
            <a:extLst>
              <a:ext uri="{FF2B5EF4-FFF2-40B4-BE49-F238E27FC236}">
                <a16:creationId xmlns:a16="http://schemas.microsoft.com/office/drawing/2014/main" xmlns="" id="{1409F6AC-26EC-4924-85C7-7C52829EA0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273484" y="5442594"/>
            <a:ext cx="290728" cy="315277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xmlns="" id="{95D9641D-18D8-4757-B59C-824BED8ECD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961178" y="5408250"/>
            <a:ext cx="234516" cy="312685"/>
          </a:xfrm>
          <a:prstGeom prst="rect">
            <a:avLst/>
          </a:prstGeom>
        </p:spPr>
      </p:pic>
      <p:grpSp>
        <p:nvGrpSpPr>
          <p:cNvPr id="45" name="Gruppieren 44">
            <a:extLst>
              <a:ext uri="{FF2B5EF4-FFF2-40B4-BE49-F238E27FC236}">
                <a16:creationId xmlns:a16="http://schemas.microsoft.com/office/drawing/2014/main" xmlns="" id="{5C7EA8DE-E5C0-4542-A14B-2F893BDFC8D1}"/>
              </a:ext>
            </a:extLst>
          </p:cNvPr>
          <p:cNvGrpSpPr/>
          <p:nvPr userDrawn="1"/>
        </p:nvGrpSpPr>
        <p:grpSpPr bwMode="gray">
          <a:xfrm>
            <a:off x="444492" y="5372336"/>
            <a:ext cx="262622" cy="396344"/>
            <a:chOff x="4933951" y="-41275"/>
            <a:chExt cx="2130425" cy="2411413"/>
          </a:xfrm>
        </p:grpSpPr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xmlns="" id="{05EE60F5-13C7-4FF2-87FA-B42FCFE9CCF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1435100"/>
              <a:ext cx="2114550" cy="935038"/>
            </a:xfrm>
            <a:custGeom>
              <a:avLst/>
              <a:gdLst>
                <a:gd name="T0" fmla="*/ 287 w 425"/>
                <a:gd name="T1" fmla="*/ 25 h 188"/>
                <a:gd name="T2" fmla="*/ 297 w 425"/>
                <a:gd name="T3" fmla="*/ 2 h 188"/>
                <a:gd name="T4" fmla="*/ 325 w 425"/>
                <a:gd name="T5" fmla="*/ 0 h 188"/>
                <a:gd name="T6" fmla="*/ 321 w 425"/>
                <a:gd name="T7" fmla="*/ 23 h 188"/>
                <a:gd name="T8" fmla="*/ 382 w 425"/>
                <a:gd name="T9" fmla="*/ 25 h 188"/>
                <a:gd name="T10" fmla="*/ 394 w 425"/>
                <a:gd name="T11" fmla="*/ 2 h 188"/>
                <a:gd name="T12" fmla="*/ 423 w 425"/>
                <a:gd name="T13" fmla="*/ 0 h 188"/>
                <a:gd name="T14" fmla="*/ 307 w 425"/>
                <a:gd name="T15" fmla="*/ 135 h 188"/>
                <a:gd name="T16" fmla="*/ 0 w 425"/>
                <a:gd name="T17" fmla="*/ 2 h 188"/>
                <a:gd name="T18" fmla="*/ 28 w 425"/>
                <a:gd name="T19" fmla="*/ 0 h 188"/>
                <a:gd name="T20" fmla="*/ 40 w 425"/>
                <a:gd name="T21" fmla="*/ 23 h 188"/>
                <a:gd name="T22" fmla="*/ 101 w 425"/>
                <a:gd name="T23" fmla="*/ 25 h 188"/>
                <a:gd name="T24" fmla="*/ 97 w 425"/>
                <a:gd name="T25" fmla="*/ 3 h 188"/>
                <a:gd name="T26" fmla="*/ 125 w 425"/>
                <a:gd name="T27" fmla="*/ 0 h 188"/>
                <a:gd name="T28" fmla="*/ 134 w 425"/>
                <a:gd name="T29" fmla="*/ 23 h 188"/>
                <a:gd name="T30" fmla="*/ 192 w 425"/>
                <a:gd name="T31" fmla="*/ 25 h 188"/>
                <a:gd name="T32" fmla="*/ 194 w 425"/>
                <a:gd name="T33" fmla="*/ 2 h 188"/>
                <a:gd name="T34" fmla="*/ 221 w 425"/>
                <a:gd name="T35" fmla="*/ 0 h 188"/>
                <a:gd name="T36" fmla="*/ 224 w 425"/>
                <a:gd name="T37" fmla="*/ 23 h 188"/>
                <a:gd name="T38" fmla="*/ 256 w 425"/>
                <a:gd name="T39" fmla="*/ 25 h 188"/>
                <a:gd name="T40" fmla="*/ 362 w 425"/>
                <a:gd name="T41" fmla="*/ 55 h 188"/>
                <a:gd name="T42" fmla="*/ 307 w 425"/>
                <a:gd name="T43" fmla="*/ 56 h 188"/>
                <a:gd name="T44" fmla="*/ 256 w 425"/>
                <a:gd name="T45" fmla="*/ 121 h 188"/>
                <a:gd name="T46" fmla="*/ 363 w 425"/>
                <a:gd name="T47" fmla="*/ 56 h 188"/>
                <a:gd name="T48" fmla="*/ 87 w 425"/>
                <a:gd name="T49" fmla="*/ 55 h 188"/>
                <a:gd name="T50" fmla="*/ 61 w 425"/>
                <a:gd name="T51" fmla="*/ 55 h 188"/>
                <a:gd name="T52" fmla="*/ 155 w 425"/>
                <a:gd name="T53" fmla="*/ 118 h 188"/>
                <a:gd name="T54" fmla="*/ 156 w 425"/>
                <a:gd name="T55" fmla="*/ 117 h 188"/>
                <a:gd name="T56" fmla="*/ 111 w 425"/>
                <a:gd name="T57" fmla="*/ 55 h 188"/>
                <a:gd name="T58" fmla="*/ 224 w 425"/>
                <a:gd name="T59" fmla="*/ 81 h 188"/>
                <a:gd name="T60" fmla="*/ 224 w 425"/>
                <a:gd name="T61" fmla="*/ 108 h 188"/>
                <a:gd name="T62" fmla="*/ 273 w 425"/>
                <a:gd name="T63" fmla="*/ 56 h 188"/>
                <a:gd name="T64" fmla="*/ 225 w 425"/>
                <a:gd name="T65" fmla="*/ 55 h 188"/>
                <a:gd name="T66" fmla="*/ 224 w 425"/>
                <a:gd name="T67" fmla="*/ 81 h 188"/>
                <a:gd name="T68" fmla="*/ 194 w 425"/>
                <a:gd name="T69" fmla="*/ 56 h 188"/>
                <a:gd name="T70" fmla="*/ 148 w 425"/>
                <a:gd name="T71" fmla="*/ 55 h 188"/>
                <a:gd name="T72" fmla="*/ 192 w 425"/>
                <a:gd name="T73" fmla="*/ 109 h 188"/>
                <a:gd name="T74" fmla="*/ 194 w 425"/>
                <a:gd name="T75" fmla="*/ 10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5" h="188">
                  <a:moveTo>
                    <a:pt x="256" y="25"/>
                  </a:moveTo>
                  <a:cubicBezTo>
                    <a:pt x="267" y="25"/>
                    <a:pt x="277" y="25"/>
                    <a:pt x="287" y="25"/>
                  </a:cubicBezTo>
                  <a:cubicBezTo>
                    <a:pt x="288" y="25"/>
                    <a:pt x="290" y="24"/>
                    <a:pt x="290" y="23"/>
                  </a:cubicBezTo>
                  <a:cubicBezTo>
                    <a:pt x="292" y="16"/>
                    <a:pt x="294" y="9"/>
                    <a:pt x="297" y="2"/>
                  </a:cubicBezTo>
                  <a:cubicBezTo>
                    <a:pt x="297" y="2"/>
                    <a:pt x="298" y="0"/>
                    <a:pt x="299" y="0"/>
                  </a:cubicBezTo>
                  <a:cubicBezTo>
                    <a:pt x="308" y="0"/>
                    <a:pt x="316" y="0"/>
                    <a:pt x="325" y="0"/>
                  </a:cubicBezTo>
                  <a:cubicBezTo>
                    <a:pt x="326" y="0"/>
                    <a:pt x="327" y="2"/>
                    <a:pt x="326" y="2"/>
                  </a:cubicBezTo>
                  <a:cubicBezTo>
                    <a:pt x="325" y="9"/>
                    <a:pt x="323" y="16"/>
                    <a:pt x="321" y="23"/>
                  </a:cubicBezTo>
                  <a:cubicBezTo>
                    <a:pt x="321" y="23"/>
                    <a:pt x="322" y="25"/>
                    <a:pt x="322" y="25"/>
                  </a:cubicBezTo>
                  <a:cubicBezTo>
                    <a:pt x="342" y="25"/>
                    <a:pt x="362" y="25"/>
                    <a:pt x="382" y="25"/>
                  </a:cubicBezTo>
                  <a:cubicBezTo>
                    <a:pt x="383" y="25"/>
                    <a:pt x="384" y="24"/>
                    <a:pt x="384" y="23"/>
                  </a:cubicBezTo>
                  <a:cubicBezTo>
                    <a:pt x="388" y="16"/>
                    <a:pt x="391" y="9"/>
                    <a:pt x="394" y="2"/>
                  </a:cubicBezTo>
                  <a:cubicBezTo>
                    <a:pt x="394" y="1"/>
                    <a:pt x="395" y="0"/>
                    <a:pt x="396" y="0"/>
                  </a:cubicBezTo>
                  <a:cubicBezTo>
                    <a:pt x="405" y="0"/>
                    <a:pt x="414" y="0"/>
                    <a:pt x="423" y="0"/>
                  </a:cubicBezTo>
                  <a:cubicBezTo>
                    <a:pt x="424" y="0"/>
                    <a:pt x="425" y="2"/>
                    <a:pt x="425" y="3"/>
                  </a:cubicBezTo>
                  <a:cubicBezTo>
                    <a:pt x="405" y="64"/>
                    <a:pt x="365" y="108"/>
                    <a:pt x="307" y="135"/>
                  </a:cubicBezTo>
                  <a:cubicBezTo>
                    <a:pt x="195" y="188"/>
                    <a:pt x="60" y="139"/>
                    <a:pt x="10" y="28"/>
                  </a:cubicBezTo>
                  <a:cubicBezTo>
                    <a:pt x="6" y="20"/>
                    <a:pt x="3" y="11"/>
                    <a:pt x="0" y="2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10" y="0"/>
                    <a:pt x="19" y="0"/>
                    <a:pt x="28" y="0"/>
                  </a:cubicBezTo>
                  <a:cubicBezTo>
                    <a:pt x="29" y="0"/>
                    <a:pt x="30" y="1"/>
                    <a:pt x="31" y="2"/>
                  </a:cubicBezTo>
                  <a:cubicBezTo>
                    <a:pt x="34" y="9"/>
                    <a:pt x="37" y="16"/>
                    <a:pt x="40" y="23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62" y="25"/>
                    <a:pt x="81" y="25"/>
                    <a:pt x="101" y="25"/>
                  </a:cubicBezTo>
                  <a:cubicBezTo>
                    <a:pt x="101" y="25"/>
                    <a:pt x="102" y="23"/>
                    <a:pt x="102" y="23"/>
                  </a:cubicBezTo>
                  <a:cubicBezTo>
                    <a:pt x="101" y="16"/>
                    <a:pt x="99" y="9"/>
                    <a:pt x="97" y="3"/>
                  </a:cubicBezTo>
                  <a:cubicBezTo>
                    <a:pt x="97" y="2"/>
                    <a:pt x="98" y="0"/>
                    <a:pt x="99" y="0"/>
                  </a:cubicBezTo>
                  <a:cubicBezTo>
                    <a:pt x="108" y="0"/>
                    <a:pt x="116" y="0"/>
                    <a:pt x="125" y="0"/>
                  </a:cubicBezTo>
                  <a:cubicBezTo>
                    <a:pt x="126" y="0"/>
                    <a:pt x="127" y="1"/>
                    <a:pt x="127" y="2"/>
                  </a:cubicBezTo>
                  <a:cubicBezTo>
                    <a:pt x="130" y="9"/>
                    <a:pt x="131" y="16"/>
                    <a:pt x="134" y="23"/>
                  </a:cubicBezTo>
                  <a:cubicBezTo>
                    <a:pt x="134" y="24"/>
                    <a:pt x="135" y="25"/>
                    <a:pt x="136" y="25"/>
                  </a:cubicBezTo>
                  <a:cubicBezTo>
                    <a:pt x="155" y="25"/>
                    <a:pt x="173" y="25"/>
                    <a:pt x="192" y="25"/>
                  </a:cubicBezTo>
                  <a:cubicBezTo>
                    <a:pt x="193" y="25"/>
                    <a:pt x="194" y="24"/>
                    <a:pt x="194" y="23"/>
                  </a:cubicBezTo>
                  <a:cubicBezTo>
                    <a:pt x="194" y="16"/>
                    <a:pt x="194" y="9"/>
                    <a:pt x="194" y="2"/>
                  </a:cubicBezTo>
                  <a:cubicBezTo>
                    <a:pt x="194" y="2"/>
                    <a:pt x="195" y="0"/>
                    <a:pt x="196" y="0"/>
                  </a:cubicBezTo>
                  <a:cubicBezTo>
                    <a:pt x="205" y="0"/>
                    <a:pt x="213" y="0"/>
                    <a:pt x="221" y="0"/>
                  </a:cubicBezTo>
                  <a:cubicBezTo>
                    <a:pt x="222" y="0"/>
                    <a:pt x="223" y="2"/>
                    <a:pt x="223" y="3"/>
                  </a:cubicBezTo>
                  <a:cubicBezTo>
                    <a:pt x="224" y="9"/>
                    <a:pt x="223" y="16"/>
                    <a:pt x="224" y="23"/>
                  </a:cubicBezTo>
                  <a:cubicBezTo>
                    <a:pt x="224" y="23"/>
                    <a:pt x="225" y="25"/>
                    <a:pt x="226" y="25"/>
                  </a:cubicBezTo>
                  <a:cubicBezTo>
                    <a:pt x="236" y="25"/>
                    <a:pt x="246" y="25"/>
                    <a:pt x="256" y="25"/>
                  </a:cubicBezTo>
                  <a:close/>
                  <a:moveTo>
                    <a:pt x="364" y="55"/>
                  </a:moveTo>
                  <a:cubicBezTo>
                    <a:pt x="363" y="55"/>
                    <a:pt x="363" y="55"/>
                    <a:pt x="362" y="55"/>
                  </a:cubicBezTo>
                  <a:cubicBezTo>
                    <a:pt x="345" y="55"/>
                    <a:pt x="328" y="54"/>
                    <a:pt x="311" y="55"/>
                  </a:cubicBezTo>
                  <a:cubicBezTo>
                    <a:pt x="310" y="55"/>
                    <a:pt x="308" y="56"/>
                    <a:pt x="307" y="56"/>
                  </a:cubicBezTo>
                  <a:cubicBezTo>
                    <a:pt x="295" y="81"/>
                    <a:pt x="279" y="103"/>
                    <a:pt x="257" y="120"/>
                  </a:cubicBezTo>
                  <a:cubicBezTo>
                    <a:pt x="257" y="121"/>
                    <a:pt x="257" y="121"/>
                    <a:pt x="256" y="121"/>
                  </a:cubicBezTo>
                  <a:cubicBezTo>
                    <a:pt x="257" y="122"/>
                    <a:pt x="257" y="122"/>
                    <a:pt x="258" y="122"/>
                  </a:cubicBezTo>
                  <a:cubicBezTo>
                    <a:pt x="300" y="111"/>
                    <a:pt x="335" y="90"/>
                    <a:pt x="363" y="56"/>
                  </a:cubicBezTo>
                  <a:cubicBezTo>
                    <a:pt x="363" y="56"/>
                    <a:pt x="364" y="55"/>
                    <a:pt x="364" y="55"/>
                  </a:cubicBezTo>
                  <a:close/>
                  <a:moveTo>
                    <a:pt x="87" y="55"/>
                  </a:moveTo>
                  <a:cubicBezTo>
                    <a:pt x="79" y="55"/>
                    <a:pt x="71" y="54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5"/>
                    <a:pt x="61" y="56"/>
                    <a:pt x="62" y="56"/>
                  </a:cubicBezTo>
                  <a:cubicBezTo>
                    <a:pt x="86" y="86"/>
                    <a:pt x="118" y="107"/>
                    <a:pt x="155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8"/>
                    <a:pt x="156" y="118"/>
                    <a:pt x="156" y="117"/>
                  </a:cubicBezTo>
                  <a:cubicBezTo>
                    <a:pt x="137" y="100"/>
                    <a:pt x="124" y="79"/>
                    <a:pt x="114" y="56"/>
                  </a:cubicBezTo>
                  <a:cubicBezTo>
                    <a:pt x="114" y="55"/>
                    <a:pt x="112" y="55"/>
                    <a:pt x="111" y="55"/>
                  </a:cubicBezTo>
                  <a:cubicBezTo>
                    <a:pt x="103" y="54"/>
                    <a:pt x="95" y="55"/>
                    <a:pt x="87" y="55"/>
                  </a:cubicBezTo>
                  <a:close/>
                  <a:moveTo>
                    <a:pt x="224" y="81"/>
                  </a:moveTo>
                  <a:cubicBezTo>
                    <a:pt x="224" y="89"/>
                    <a:pt x="224" y="98"/>
                    <a:pt x="224" y="106"/>
                  </a:cubicBezTo>
                  <a:cubicBezTo>
                    <a:pt x="224" y="107"/>
                    <a:pt x="224" y="107"/>
                    <a:pt x="224" y="108"/>
                  </a:cubicBezTo>
                  <a:cubicBezTo>
                    <a:pt x="224" y="108"/>
                    <a:pt x="225" y="107"/>
                    <a:pt x="226" y="107"/>
                  </a:cubicBezTo>
                  <a:cubicBezTo>
                    <a:pt x="246" y="94"/>
                    <a:pt x="261" y="76"/>
                    <a:pt x="273" y="56"/>
                  </a:cubicBezTo>
                  <a:cubicBezTo>
                    <a:pt x="274" y="56"/>
                    <a:pt x="273" y="55"/>
                    <a:pt x="272" y="55"/>
                  </a:cubicBezTo>
                  <a:cubicBezTo>
                    <a:pt x="257" y="54"/>
                    <a:pt x="241" y="54"/>
                    <a:pt x="225" y="55"/>
                  </a:cubicBezTo>
                  <a:cubicBezTo>
                    <a:pt x="225" y="55"/>
                    <a:pt x="224" y="56"/>
                    <a:pt x="224" y="56"/>
                  </a:cubicBezTo>
                  <a:cubicBezTo>
                    <a:pt x="224" y="65"/>
                    <a:pt x="224" y="73"/>
                    <a:pt x="224" y="81"/>
                  </a:cubicBezTo>
                  <a:close/>
                  <a:moveTo>
                    <a:pt x="194" y="82"/>
                  </a:moveTo>
                  <a:cubicBezTo>
                    <a:pt x="194" y="73"/>
                    <a:pt x="194" y="65"/>
                    <a:pt x="194" y="56"/>
                  </a:cubicBezTo>
                  <a:cubicBezTo>
                    <a:pt x="194" y="56"/>
                    <a:pt x="193" y="55"/>
                    <a:pt x="192" y="55"/>
                  </a:cubicBezTo>
                  <a:cubicBezTo>
                    <a:pt x="178" y="54"/>
                    <a:pt x="163" y="54"/>
                    <a:pt x="148" y="55"/>
                  </a:cubicBezTo>
                  <a:cubicBezTo>
                    <a:pt x="148" y="55"/>
                    <a:pt x="147" y="56"/>
                    <a:pt x="147" y="56"/>
                  </a:cubicBezTo>
                  <a:cubicBezTo>
                    <a:pt x="158" y="77"/>
                    <a:pt x="172" y="95"/>
                    <a:pt x="192" y="109"/>
                  </a:cubicBezTo>
                  <a:cubicBezTo>
                    <a:pt x="193" y="109"/>
                    <a:pt x="193" y="109"/>
                    <a:pt x="194" y="109"/>
                  </a:cubicBezTo>
                  <a:cubicBezTo>
                    <a:pt x="194" y="109"/>
                    <a:pt x="194" y="108"/>
                    <a:pt x="194" y="108"/>
                  </a:cubicBezTo>
                  <a:cubicBezTo>
                    <a:pt x="194" y="99"/>
                    <a:pt x="194" y="91"/>
                    <a:pt x="19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xmlns="" id="{BAA2DC66-D523-4725-9384-AA70E4C61D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-41275"/>
              <a:ext cx="2108200" cy="860425"/>
            </a:xfrm>
            <a:custGeom>
              <a:avLst/>
              <a:gdLst>
                <a:gd name="T0" fmla="*/ 45 w 424"/>
                <a:gd name="T1" fmla="*/ 148 h 173"/>
                <a:gd name="T2" fmla="*/ 32 w 424"/>
                <a:gd name="T3" fmla="*/ 170 h 173"/>
                <a:gd name="T4" fmla="*/ 3 w 424"/>
                <a:gd name="T5" fmla="*/ 173 h 173"/>
                <a:gd name="T6" fmla="*/ 155 w 424"/>
                <a:gd name="T7" fmla="*/ 28 h 173"/>
                <a:gd name="T8" fmla="*/ 424 w 424"/>
                <a:gd name="T9" fmla="*/ 171 h 173"/>
                <a:gd name="T10" fmla="*/ 395 w 424"/>
                <a:gd name="T11" fmla="*/ 173 h 173"/>
                <a:gd name="T12" fmla="*/ 382 w 424"/>
                <a:gd name="T13" fmla="*/ 149 h 173"/>
                <a:gd name="T14" fmla="*/ 321 w 424"/>
                <a:gd name="T15" fmla="*/ 148 h 173"/>
                <a:gd name="T16" fmla="*/ 325 w 424"/>
                <a:gd name="T17" fmla="*/ 171 h 173"/>
                <a:gd name="T18" fmla="*/ 297 w 424"/>
                <a:gd name="T19" fmla="*/ 173 h 173"/>
                <a:gd name="T20" fmla="*/ 287 w 424"/>
                <a:gd name="T21" fmla="*/ 149 h 173"/>
                <a:gd name="T22" fmla="*/ 225 w 424"/>
                <a:gd name="T23" fmla="*/ 148 h 173"/>
                <a:gd name="T24" fmla="*/ 223 w 424"/>
                <a:gd name="T25" fmla="*/ 170 h 173"/>
                <a:gd name="T26" fmla="*/ 196 w 424"/>
                <a:gd name="T27" fmla="*/ 173 h 173"/>
                <a:gd name="T28" fmla="*/ 194 w 424"/>
                <a:gd name="T29" fmla="*/ 150 h 173"/>
                <a:gd name="T30" fmla="*/ 137 w 424"/>
                <a:gd name="T31" fmla="*/ 148 h 173"/>
                <a:gd name="T32" fmla="*/ 128 w 424"/>
                <a:gd name="T33" fmla="*/ 171 h 173"/>
                <a:gd name="T34" fmla="*/ 99 w 424"/>
                <a:gd name="T35" fmla="*/ 173 h 173"/>
                <a:gd name="T36" fmla="*/ 103 w 424"/>
                <a:gd name="T37" fmla="*/ 150 h 173"/>
                <a:gd name="T38" fmla="*/ 73 w 424"/>
                <a:gd name="T39" fmla="*/ 148 h 173"/>
                <a:gd name="T40" fmla="*/ 359 w 424"/>
                <a:gd name="T41" fmla="*/ 118 h 173"/>
                <a:gd name="T42" fmla="*/ 360 w 424"/>
                <a:gd name="T43" fmla="*/ 116 h 173"/>
                <a:gd name="T44" fmla="*/ 258 w 424"/>
                <a:gd name="T45" fmla="*/ 56 h 173"/>
                <a:gd name="T46" fmla="*/ 305 w 424"/>
                <a:gd name="T47" fmla="*/ 116 h 173"/>
                <a:gd name="T48" fmla="*/ 333 w 424"/>
                <a:gd name="T49" fmla="*/ 118 h 173"/>
                <a:gd name="T50" fmla="*/ 113 w 424"/>
                <a:gd name="T51" fmla="*/ 118 h 173"/>
                <a:gd name="T52" fmla="*/ 157 w 424"/>
                <a:gd name="T53" fmla="*/ 59 h 173"/>
                <a:gd name="T54" fmla="*/ 157 w 424"/>
                <a:gd name="T55" fmla="*/ 58 h 173"/>
                <a:gd name="T56" fmla="*/ 64 w 424"/>
                <a:gd name="T57" fmla="*/ 118 h 173"/>
                <a:gd name="T58" fmla="*/ 90 w 424"/>
                <a:gd name="T59" fmla="*/ 118 h 173"/>
                <a:gd name="T60" fmla="*/ 269 w 424"/>
                <a:gd name="T61" fmla="*/ 118 h 173"/>
                <a:gd name="T62" fmla="*/ 225 w 424"/>
                <a:gd name="T63" fmla="*/ 68 h 173"/>
                <a:gd name="T64" fmla="*/ 224 w 424"/>
                <a:gd name="T65" fmla="*/ 69 h 173"/>
                <a:gd name="T66" fmla="*/ 225 w 424"/>
                <a:gd name="T67" fmla="*/ 118 h 173"/>
                <a:gd name="T68" fmla="*/ 194 w 424"/>
                <a:gd name="T69" fmla="*/ 93 h 173"/>
                <a:gd name="T70" fmla="*/ 194 w 424"/>
                <a:gd name="T71" fmla="*/ 68 h 173"/>
                <a:gd name="T72" fmla="*/ 150 w 424"/>
                <a:gd name="T73" fmla="*/ 116 h 173"/>
                <a:gd name="T74" fmla="*/ 192 w 424"/>
                <a:gd name="T75" fmla="*/ 118 h 173"/>
                <a:gd name="T76" fmla="*/ 194 w 424"/>
                <a:gd name="T77" fmla="*/ 9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4" h="173">
                  <a:moveTo>
                    <a:pt x="73" y="148"/>
                  </a:moveTo>
                  <a:cubicBezTo>
                    <a:pt x="64" y="148"/>
                    <a:pt x="55" y="148"/>
                    <a:pt x="45" y="148"/>
                  </a:cubicBezTo>
                  <a:cubicBezTo>
                    <a:pt x="44" y="148"/>
                    <a:pt x="43" y="149"/>
                    <a:pt x="42" y="149"/>
                  </a:cubicBezTo>
                  <a:cubicBezTo>
                    <a:pt x="39" y="156"/>
                    <a:pt x="36" y="164"/>
                    <a:pt x="32" y="170"/>
                  </a:cubicBezTo>
                  <a:cubicBezTo>
                    <a:pt x="32" y="171"/>
                    <a:pt x="30" y="173"/>
                    <a:pt x="29" y="173"/>
                  </a:cubicBezTo>
                  <a:cubicBezTo>
                    <a:pt x="21" y="173"/>
                    <a:pt x="12" y="173"/>
                    <a:pt x="3" y="173"/>
                  </a:cubicBezTo>
                  <a:cubicBezTo>
                    <a:pt x="1" y="173"/>
                    <a:pt x="0" y="172"/>
                    <a:pt x="1" y="170"/>
                  </a:cubicBezTo>
                  <a:cubicBezTo>
                    <a:pt x="28" y="96"/>
                    <a:pt x="80" y="48"/>
                    <a:pt x="155" y="28"/>
                  </a:cubicBezTo>
                  <a:cubicBezTo>
                    <a:pt x="258" y="0"/>
                    <a:pt x="366" y="50"/>
                    <a:pt x="413" y="144"/>
                  </a:cubicBezTo>
                  <a:cubicBezTo>
                    <a:pt x="417" y="153"/>
                    <a:pt x="420" y="162"/>
                    <a:pt x="424" y="171"/>
                  </a:cubicBezTo>
                  <a:cubicBezTo>
                    <a:pt x="424" y="171"/>
                    <a:pt x="423" y="173"/>
                    <a:pt x="422" y="173"/>
                  </a:cubicBezTo>
                  <a:cubicBezTo>
                    <a:pt x="413" y="173"/>
                    <a:pt x="404" y="173"/>
                    <a:pt x="395" y="173"/>
                  </a:cubicBezTo>
                  <a:cubicBezTo>
                    <a:pt x="394" y="173"/>
                    <a:pt x="393" y="172"/>
                    <a:pt x="392" y="171"/>
                  </a:cubicBezTo>
                  <a:cubicBezTo>
                    <a:pt x="389" y="164"/>
                    <a:pt x="386" y="156"/>
                    <a:pt x="382" y="149"/>
                  </a:cubicBezTo>
                  <a:cubicBezTo>
                    <a:pt x="382" y="148"/>
                    <a:pt x="381" y="148"/>
                    <a:pt x="380" y="148"/>
                  </a:cubicBezTo>
                  <a:cubicBezTo>
                    <a:pt x="360" y="148"/>
                    <a:pt x="340" y="148"/>
                    <a:pt x="321" y="148"/>
                  </a:cubicBezTo>
                  <a:cubicBezTo>
                    <a:pt x="320" y="148"/>
                    <a:pt x="319" y="149"/>
                    <a:pt x="319" y="150"/>
                  </a:cubicBezTo>
                  <a:cubicBezTo>
                    <a:pt x="321" y="157"/>
                    <a:pt x="323" y="164"/>
                    <a:pt x="325" y="171"/>
                  </a:cubicBezTo>
                  <a:cubicBezTo>
                    <a:pt x="325" y="171"/>
                    <a:pt x="325" y="173"/>
                    <a:pt x="324" y="173"/>
                  </a:cubicBezTo>
                  <a:cubicBezTo>
                    <a:pt x="315" y="173"/>
                    <a:pt x="306" y="173"/>
                    <a:pt x="297" y="173"/>
                  </a:cubicBezTo>
                  <a:cubicBezTo>
                    <a:pt x="296" y="173"/>
                    <a:pt x="295" y="172"/>
                    <a:pt x="295" y="171"/>
                  </a:cubicBezTo>
                  <a:cubicBezTo>
                    <a:pt x="292" y="164"/>
                    <a:pt x="290" y="156"/>
                    <a:pt x="287" y="149"/>
                  </a:cubicBezTo>
                  <a:cubicBezTo>
                    <a:pt x="287" y="148"/>
                    <a:pt x="286" y="148"/>
                    <a:pt x="285" y="148"/>
                  </a:cubicBezTo>
                  <a:cubicBezTo>
                    <a:pt x="265" y="148"/>
                    <a:pt x="245" y="148"/>
                    <a:pt x="225" y="148"/>
                  </a:cubicBezTo>
                  <a:cubicBezTo>
                    <a:pt x="225" y="148"/>
                    <a:pt x="224" y="149"/>
                    <a:pt x="224" y="150"/>
                  </a:cubicBezTo>
                  <a:cubicBezTo>
                    <a:pt x="223" y="156"/>
                    <a:pt x="224" y="163"/>
                    <a:pt x="223" y="170"/>
                  </a:cubicBezTo>
                  <a:cubicBezTo>
                    <a:pt x="223" y="171"/>
                    <a:pt x="222" y="173"/>
                    <a:pt x="221" y="173"/>
                  </a:cubicBezTo>
                  <a:cubicBezTo>
                    <a:pt x="213" y="173"/>
                    <a:pt x="205" y="173"/>
                    <a:pt x="196" y="173"/>
                  </a:cubicBezTo>
                  <a:cubicBezTo>
                    <a:pt x="195" y="173"/>
                    <a:pt x="194" y="171"/>
                    <a:pt x="194" y="170"/>
                  </a:cubicBezTo>
                  <a:cubicBezTo>
                    <a:pt x="194" y="164"/>
                    <a:pt x="194" y="157"/>
                    <a:pt x="194" y="150"/>
                  </a:cubicBezTo>
                  <a:cubicBezTo>
                    <a:pt x="194" y="149"/>
                    <a:pt x="193" y="148"/>
                    <a:pt x="192" y="148"/>
                  </a:cubicBezTo>
                  <a:cubicBezTo>
                    <a:pt x="174" y="148"/>
                    <a:pt x="156" y="148"/>
                    <a:pt x="137" y="148"/>
                  </a:cubicBezTo>
                  <a:cubicBezTo>
                    <a:pt x="137" y="148"/>
                    <a:pt x="135" y="149"/>
                    <a:pt x="135" y="149"/>
                  </a:cubicBezTo>
                  <a:cubicBezTo>
                    <a:pt x="133" y="156"/>
                    <a:pt x="131" y="164"/>
                    <a:pt x="128" y="171"/>
                  </a:cubicBezTo>
                  <a:cubicBezTo>
                    <a:pt x="128" y="172"/>
                    <a:pt x="127" y="173"/>
                    <a:pt x="126" y="173"/>
                  </a:cubicBezTo>
                  <a:cubicBezTo>
                    <a:pt x="117" y="173"/>
                    <a:pt x="108" y="173"/>
                    <a:pt x="99" y="173"/>
                  </a:cubicBezTo>
                  <a:cubicBezTo>
                    <a:pt x="99" y="173"/>
                    <a:pt x="98" y="171"/>
                    <a:pt x="98" y="171"/>
                  </a:cubicBezTo>
                  <a:cubicBezTo>
                    <a:pt x="100" y="164"/>
                    <a:pt x="101" y="157"/>
                    <a:pt x="103" y="150"/>
                  </a:cubicBezTo>
                  <a:cubicBezTo>
                    <a:pt x="103" y="149"/>
                    <a:pt x="102" y="148"/>
                    <a:pt x="102" y="148"/>
                  </a:cubicBezTo>
                  <a:cubicBezTo>
                    <a:pt x="92" y="148"/>
                    <a:pt x="83" y="148"/>
                    <a:pt x="73" y="148"/>
                  </a:cubicBezTo>
                  <a:close/>
                  <a:moveTo>
                    <a:pt x="333" y="118"/>
                  </a:moveTo>
                  <a:cubicBezTo>
                    <a:pt x="342" y="118"/>
                    <a:pt x="350" y="118"/>
                    <a:pt x="359" y="118"/>
                  </a:cubicBezTo>
                  <a:cubicBezTo>
                    <a:pt x="359" y="118"/>
                    <a:pt x="360" y="118"/>
                    <a:pt x="360" y="118"/>
                  </a:cubicBezTo>
                  <a:cubicBezTo>
                    <a:pt x="360" y="117"/>
                    <a:pt x="360" y="117"/>
                    <a:pt x="360" y="116"/>
                  </a:cubicBezTo>
                  <a:cubicBezTo>
                    <a:pt x="332" y="86"/>
                    <a:pt x="299" y="66"/>
                    <a:pt x="259" y="56"/>
                  </a:cubicBezTo>
                  <a:cubicBezTo>
                    <a:pt x="259" y="56"/>
                    <a:pt x="258" y="56"/>
                    <a:pt x="258" y="56"/>
                  </a:cubicBezTo>
                  <a:cubicBezTo>
                    <a:pt x="258" y="56"/>
                    <a:pt x="258" y="57"/>
                    <a:pt x="259" y="57"/>
                  </a:cubicBezTo>
                  <a:cubicBezTo>
                    <a:pt x="278" y="74"/>
                    <a:pt x="293" y="94"/>
                    <a:pt x="305" y="116"/>
                  </a:cubicBezTo>
                  <a:cubicBezTo>
                    <a:pt x="305" y="117"/>
                    <a:pt x="307" y="118"/>
                    <a:pt x="308" y="118"/>
                  </a:cubicBezTo>
                  <a:cubicBezTo>
                    <a:pt x="316" y="118"/>
                    <a:pt x="325" y="118"/>
                    <a:pt x="333" y="118"/>
                  </a:cubicBezTo>
                  <a:close/>
                  <a:moveTo>
                    <a:pt x="90" y="118"/>
                  </a:moveTo>
                  <a:cubicBezTo>
                    <a:pt x="98" y="118"/>
                    <a:pt x="106" y="118"/>
                    <a:pt x="113" y="118"/>
                  </a:cubicBezTo>
                  <a:cubicBezTo>
                    <a:pt x="114" y="118"/>
                    <a:pt x="116" y="117"/>
                    <a:pt x="116" y="116"/>
                  </a:cubicBezTo>
                  <a:cubicBezTo>
                    <a:pt x="127" y="95"/>
                    <a:pt x="140" y="76"/>
                    <a:pt x="157" y="59"/>
                  </a:cubicBezTo>
                  <a:cubicBezTo>
                    <a:pt x="158" y="59"/>
                    <a:pt x="158" y="58"/>
                    <a:pt x="158" y="58"/>
                  </a:cubicBezTo>
                  <a:cubicBezTo>
                    <a:pt x="158" y="58"/>
                    <a:pt x="157" y="58"/>
                    <a:pt x="157" y="58"/>
                  </a:cubicBezTo>
                  <a:cubicBezTo>
                    <a:pt x="121" y="69"/>
                    <a:pt x="90" y="88"/>
                    <a:pt x="65" y="116"/>
                  </a:cubicBezTo>
                  <a:cubicBezTo>
                    <a:pt x="65" y="117"/>
                    <a:pt x="65" y="117"/>
                    <a:pt x="64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74" y="118"/>
                    <a:pt x="82" y="118"/>
                    <a:pt x="90" y="118"/>
                  </a:cubicBezTo>
                  <a:close/>
                  <a:moveTo>
                    <a:pt x="247" y="118"/>
                  </a:moveTo>
                  <a:cubicBezTo>
                    <a:pt x="255" y="118"/>
                    <a:pt x="262" y="118"/>
                    <a:pt x="269" y="118"/>
                  </a:cubicBezTo>
                  <a:cubicBezTo>
                    <a:pt x="270" y="118"/>
                    <a:pt x="270" y="117"/>
                    <a:pt x="270" y="116"/>
                  </a:cubicBezTo>
                  <a:cubicBezTo>
                    <a:pt x="258" y="98"/>
                    <a:pt x="244" y="81"/>
                    <a:pt x="225" y="68"/>
                  </a:cubicBezTo>
                  <a:cubicBezTo>
                    <a:pt x="225" y="68"/>
                    <a:pt x="224" y="68"/>
                    <a:pt x="224" y="67"/>
                  </a:cubicBezTo>
                  <a:cubicBezTo>
                    <a:pt x="224" y="68"/>
                    <a:pt x="224" y="69"/>
                    <a:pt x="224" y="69"/>
                  </a:cubicBezTo>
                  <a:cubicBezTo>
                    <a:pt x="224" y="85"/>
                    <a:pt x="224" y="100"/>
                    <a:pt x="224" y="116"/>
                  </a:cubicBezTo>
                  <a:cubicBezTo>
                    <a:pt x="224" y="117"/>
                    <a:pt x="225" y="118"/>
                    <a:pt x="225" y="118"/>
                  </a:cubicBezTo>
                  <a:cubicBezTo>
                    <a:pt x="233" y="118"/>
                    <a:pt x="240" y="118"/>
                    <a:pt x="247" y="118"/>
                  </a:cubicBezTo>
                  <a:close/>
                  <a:moveTo>
                    <a:pt x="194" y="93"/>
                  </a:moveTo>
                  <a:cubicBezTo>
                    <a:pt x="194" y="85"/>
                    <a:pt x="194" y="78"/>
                    <a:pt x="194" y="70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3" y="68"/>
                    <a:pt x="192" y="68"/>
                    <a:pt x="192" y="69"/>
                  </a:cubicBezTo>
                  <a:cubicBezTo>
                    <a:pt x="175" y="82"/>
                    <a:pt x="161" y="98"/>
                    <a:pt x="150" y="116"/>
                  </a:cubicBezTo>
                  <a:cubicBezTo>
                    <a:pt x="150" y="117"/>
                    <a:pt x="151" y="118"/>
                    <a:pt x="151" y="118"/>
                  </a:cubicBezTo>
                  <a:cubicBezTo>
                    <a:pt x="165" y="118"/>
                    <a:pt x="179" y="118"/>
                    <a:pt x="192" y="118"/>
                  </a:cubicBezTo>
                  <a:cubicBezTo>
                    <a:pt x="193" y="118"/>
                    <a:pt x="194" y="117"/>
                    <a:pt x="194" y="116"/>
                  </a:cubicBezTo>
                  <a:cubicBezTo>
                    <a:pt x="194" y="108"/>
                    <a:pt x="194" y="101"/>
                    <a:pt x="194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xmlns="" id="{575115B3-4C7D-4A6F-93E9-3A63D5591B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3951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4 h 73"/>
                <a:gd name="T12" fmla="*/ 32 w 124"/>
                <a:gd name="T13" fmla="*/ 73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1 h 73"/>
                <a:gd name="T24" fmla="*/ 34 w 124"/>
                <a:gd name="T25" fmla="*/ 49 h 73"/>
                <a:gd name="T26" fmla="*/ 37 w 124"/>
                <a:gd name="T27" fmla="*/ 42 h 73"/>
                <a:gd name="T28" fmla="*/ 47 w 124"/>
                <a:gd name="T29" fmla="*/ 11 h 73"/>
                <a:gd name="T30" fmla="*/ 62 w 124"/>
                <a:gd name="T31" fmla="*/ 1 h 73"/>
                <a:gd name="T32" fmla="*/ 76 w 124"/>
                <a:gd name="T33" fmla="*/ 11 h 73"/>
                <a:gd name="T34" fmla="*/ 89 w 124"/>
                <a:gd name="T35" fmla="*/ 47 h 73"/>
                <a:gd name="T36" fmla="*/ 90 w 124"/>
                <a:gd name="T37" fmla="*/ 49 h 73"/>
                <a:gd name="T38" fmla="*/ 90 w 124"/>
                <a:gd name="T39" fmla="*/ 47 h 73"/>
                <a:gd name="T40" fmla="*/ 101 w 124"/>
                <a:gd name="T41" fmla="*/ 10 h 73"/>
                <a:gd name="T42" fmla="*/ 113 w 124"/>
                <a:gd name="T43" fmla="*/ 1 h 73"/>
                <a:gd name="T44" fmla="*/ 121 w 124"/>
                <a:gd name="T45" fmla="*/ 13 h 73"/>
                <a:gd name="T46" fmla="*/ 104 w 124"/>
                <a:gd name="T47" fmla="*/ 63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7" y="37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7"/>
                    <a:pt x="51" y="50"/>
                    <a:pt x="46" y="64"/>
                  </a:cubicBezTo>
                  <a:cubicBezTo>
                    <a:pt x="44" y="70"/>
                    <a:pt x="40" y="73"/>
                    <a:pt x="32" y="73"/>
                  </a:cubicBezTo>
                  <a:cubicBezTo>
                    <a:pt x="25" y="72"/>
                    <a:pt x="21" y="69"/>
                    <a:pt x="19" y="63"/>
                  </a:cubicBezTo>
                  <a:cubicBezTo>
                    <a:pt x="13" y="47"/>
                    <a:pt x="8" y="30"/>
                    <a:pt x="2" y="14"/>
                  </a:cubicBezTo>
                  <a:cubicBezTo>
                    <a:pt x="0" y="8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8"/>
                    <a:pt x="28" y="30"/>
                    <a:pt x="31" y="41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7" y="11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69" y="1"/>
                    <a:pt x="73" y="4"/>
                    <a:pt x="76" y="11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9"/>
                    <a:pt x="90" y="49"/>
                  </a:cubicBezTo>
                  <a:cubicBezTo>
                    <a:pt x="90" y="48"/>
                    <a:pt x="90" y="48"/>
                    <a:pt x="90" y="47"/>
                  </a:cubicBezTo>
                  <a:cubicBezTo>
                    <a:pt x="94" y="35"/>
                    <a:pt x="97" y="23"/>
                    <a:pt x="101" y="10"/>
                  </a:cubicBezTo>
                  <a:cubicBezTo>
                    <a:pt x="103" y="3"/>
                    <a:pt x="106" y="1"/>
                    <a:pt x="113" y="1"/>
                  </a:cubicBezTo>
                  <a:cubicBezTo>
                    <a:pt x="121" y="2"/>
                    <a:pt x="124" y="6"/>
                    <a:pt x="121" y="13"/>
                  </a:cubicBezTo>
                  <a:cubicBezTo>
                    <a:pt x="116" y="30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xmlns="" id="{CFB7063B-0DFA-4BB9-957F-7F068926E5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6838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7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6 h 73"/>
                <a:gd name="T22" fmla="*/ 31 w 124"/>
                <a:gd name="T23" fmla="*/ 40 h 73"/>
                <a:gd name="T24" fmla="*/ 33 w 124"/>
                <a:gd name="T25" fmla="*/ 48 h 73"/>
                <a:gd name="T26" fmla="*/ 34 w 124"/>
                <a:gd name="T27" fmla="*/ 49 h 73"/>
                <a:gd name="T28" fmla="*/ 35 w 124"/>
                <a:gd name="T29" fmla="*/ 48 h 73"/>
                <a:gd name="T30" fmla="*/ 47 w 124"/>
                <a:gd name="T31" fmla="*/ 12 h 73"/>
                <a:gd name="T32" fmla="*/ 62 w 124"/>
                <a:gd name="T33" fmla="*/ 1 h 73"/>
                <a:gd name="T34" fmla="*/ 76 w 124"/>
                <a:gd name="T35" fmla="*/ 12 h 73"/>
                <a:gd name="T36" fmla="*/ 89 w 124"/>
                <a:gd name="T37" fmla="*/ 48 h 73"/>
                <a:gd name="T38" fmla="*/ 90 w 124"/>
                <a:gd name="T39" fmla="*/ 49 h 73"/>
                <a:gd name="T40" fmla="*/ 90 w 124"/>
                <a:gd name="T41" fmla="*/ 48 h 73"/>
                <a:gd name="T42" fmla="*/ 101 w 124"/>
                <a:gd name="T43" fmla="*/ 10 h 73"/>
                <a:gd name="T44" fmla="*/ 112 w 124"/>
                <a:gd name="T45" fmla="*/ 1 h 73"/>
                <a:gd name="T46" fmla="*/ 121 w 124"/>
                <a:gd name="T47" fmla="*/ 14 h 73"/>
                <a:gd name="T48" fmla="*/ 104 w 124"/>
                <a:gd name="T49" fmla="*/ 63 h 73"/>
                <a:gd name="T50" fmla="*/ 90 w 124"/>
                <a:gd name="T51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3" y="22"/>
                    <a:pt x="62" y="22"/>
                    <a:pt x="62" y="21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56" y="36"/>
                    <a:pt x="52" y="50"/>
                    <a:pt x="47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9"/>
                    <a:pt x="0" y="5"/>
                    <a:pt x="6" y="2"/>
                  </a:cubicBezTo>
                  <a:cubicBezTo>
                    <a:pt x="12" y="0"/>
                    <a:pt x="19" y="1"/>
                    <a:pt x="21" y="6"/>
                  </a:cubicBezTo>
                  <a:cubicBezTo>
                    <a:pt x="25" y="17"/>
                    <a:pt x="28" y="29"/>
                    <a:pt x="31" y="40"/>
                  </a:cubicBezTo>
                  <a:cubicBezTo>
                    <a:pt x="32" y="42"/>
                    <a:pt x="33" y="45"/>
                    <a:pt x="33" y="48"/>
                  </a:cubicBezTo>
                  <a:cubicBezTo>
                    <a:pt x="33" y="48"/>
                    <a:pt x="34" y="49"/>
                    <a:pt x="34" y="49"/>
                  </a:cubicBezTo>
                  <a:cubicBezTo>
                    <a:pt x="34" y="49"/>
                    <a:pt x="34" y="48"/>
                    <a:pt x="35" y="48"/>
                  </a:cubicBezTo>
                  <a:cubicBezTo>
                    <a:pt x="39" y="36"/>
                    <a:pt x="43" y="24"/>
                    <a:pt x="47" y="12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70" y="1"/>
                    <a:pt x="73" y="4"/>
                    <a:pt x="76" y="12"/>
                  </a:cubicBezTo>
                  <a:cubicBezTo>
                    <a:pt x="81" y="23"/>
                    <a:pt x="85" y="36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94" y="35"/>
                    <a:pt x="98" y="23"/>
                    <a:pt x="101" y="10"/>
                  </a:cubicBezTo>
                  <a:cubicBezTo>
                    <a:pt x="103" y="5"/>
                    <a:pt x="106" y="2"/>
                    <a:pt x="112" y="1"/>
                  </a:cubicBezTo>
                  <a:cubicBezTo>
                    <a:pt x="121" y="1"/>
                    <a:pt x="124" y="6"/>
                    <a:pt x="121" y="14"/>
                  </a:cubicBezTo>
                  <a:cubicBezTo>
                    <a:pt x="116" y="31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xmlns="" id="{131A025F-51C1-46B8-8513-E958EFF869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1188" y="952500"/>
              <a:ext cx="615950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4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2 h 73"/>
                <a:gd name="T24" fmla="*/ 34 w 124"/>
                <a:gd name="T25" fmla="*/ 49 h 73"/>
                <a:gd name="T26" fmla="*/ 37 w 124"/>
                <a:gd name="T27" fmla="*/ 42 h 73"/>
                <a:gd name="T28" fmla="*/ 48 w 124"/>
                <a:gd name="T29" fmla="*/ 10 h 73"/>
                <a:gd name="T30" fmla="*/ 62 w 124"/>
                <a:gd name="T31" fmla="*/ 1 h 73"/>
                <a:gd name="T32" fmla="*/ 76 w 124"/>
                <a:gd name="T33" fmla="*/ 10 h 73"/>
                <a:gd name="T34" fmla="*/ 89 w 124"/>
                <a:gd name="T35" fmla="*/ 47 h 73"/>
                <a:gd name="T36" fmla="*/ 90 w 124"/>
                <a:gd name="T37" fmla="*/ 49 h 73"/>
                <a:gd name="T38" fmla="*/ 91 w 124"/>
                <a:gd name="T39" fmla="*/ 47 h 73"/>
                <a:gd name="T40" fmla="*/ 101 w 124"/>
                <a:gd name="T41" fmla="*/ 10 h 73"/>
                <a:gd name="T42" fmla="*/ 116 w 124"/>
                <a:gd name="T43" fmla="*/ 2 h 73"/>
                <a:gd name="T44" fmla="*/ 122 w 124"/>
                <a:gd name="T45" fmla="*/ 12 h 73"/>
                <a:gd name="T46" fmla="*/ 104 w 124"/>
                <a:gd name="T47" fmla="*/ 65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4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6"/>
                    <a:pt x="51" y="50"/>
                    <a:pt x="46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7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9"/>
                    <a:pt x="28" y="30"/>
                    <a:pt x="31" y="42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8" y="10"/>
                  </a:cubicBezTo>
                  <a:cubicBezTo>
                    <a:pt x="50" y="3"/>
                    <a:pt x="55" y="1"/>
                    <a:pt x="62" y="1"/>
                  </a:cubicBezTo>
                  <a:cubicBezTo>
                    <a:pt x="69" y="1"/>
                    <a:pt x="73" y="4"/>
                    <a:pt x="76" y="10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8"/>
                    <a:pt x="90" y="48"/>
                    <a:pt x="91" y="47"/>
                  </a:cubicBezTo>
                  <a:cubicBezTo>
                    <a:pt x="94" y="35"/>
                    <a:pt x="98" y="22"/>
                    <a:pt x="101" y="10"/>
                  </a:cubicBezTo>
                  <a:cubicBezTo>
                    <a:pt x="103" y="3"/>
                    <a:pt x="108" y="0"/>
                    <a:pt x="116" y="2"/>
                  </a:cubicBezTo>
                  <a:cubicBezTo>
                    <a:pt x="121" y="3"/>
                    <a:pt x="124" y="7"/>
                    <a:pt x="122" y="12"/>
                  </a:cubicBezTo>
                  <a:cubicBezTo>
                    <a:pt x="116" y="30"/>
                    <a:pt x="110" y="47"/>
                    <a:pt x="104" y="65"/>
                  </a:cubicBezTo>
                  <a:cubicBezTo>
                    <a:pt x="101" y="71"/>
                    <a:pt x="97" y="73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</p:grpSp>
      <p:sp>
        <p:nvSpPr>
          <p:cNvPr id="51" name="TextBox 7">
            <a:extLst>
              <a:ext uri="{FF2B5EF4-FFF2-40B4-BE49-F238E27FC236}">
                <a16:creationId xmlns:a16="http://schemas.microsoft.com/office/drawing/2014/main" xmlns="" id="{D24B1108-EDD6-417B-A36D-F3867011F0AB}"/>
              </a:ext>
            </a:extLst>
          </p:cNvPr>
          <p:cNvSpPr txBox="1"/>
          <p:nvPr userDrawn="1"/>
        </p:nvSpPr>
        <p:spPr bwMode="gray">
          <a:xfrm>
            <a:off x="2622199" y="5403597"/>
            <a:ext cx="1773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twitter.com/giz_gmbh</a:t>
            </a:r>
          </a:p>
        </p:txBody>
      </p:sp>
      <p:sp>
        <p:nvSpPr>
          <p:cNvPr id="52" name="TextBox 7">
            <a:extLst>
              <a:ext uri="{FF2B5EF4-FFF2-40B4-BE49-F238E27FC236}">
                <a16:creationId xmlns:a16="http://schemas.microsoft.com/office/drawing/2014/main" xmlns="" id="{D1A27A20-93C4-43EC-9799-1798AF93C848}"/>
              </a:ext>
            </a:extLst>
          </p:cNvPr>
          <p:cNvSpPr txBox="1"/>
          <p:nvPr userDrawn="1"/>
        </p:nvSpPr>
        <p:spPr bwMode="gray">
          <a:xfrm>
            <a:off x="5253681" y="5403597"/>
            <a:ext cx="22557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www.facebook.com/gizprofile/</a:t>
            </a:r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xmlns="" id="{99BAFDF9-B477-4EAA-888B-B283B996F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959063" y="2760959"/>
            <a:ext cx="2570185" cy="80169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T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32" name="Textplatzhalter 29">
            <a:extLst>
              <a:ext uri="{FF2B5EF4-FFF2-40B4-BE49-F238E27FC236}">
                <a16:creationId xmlns:a16="http://schemas.microsoft.com/office/drawing/2014/main" xmlns="" id="{45476593-F938-4100-B13C-38D8379BF2A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959063" y="1857148"/>
            <a:ext cx="2570185" cy="235035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3" name="Textplatzhalter 30">
            <a:extLst>
              <a:ext uri="{FF2B5EF4-FFF2-40B4-BE49-F238E27FC236}">
                <a16:creationId xmlns:a16="http://schemas.microsoft.com/office/drawing/2014/main" xmlns="" id="{01D00CFF-DFE3-4530-913B-A7058396109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959063" y="2181304"/>
            <a:ext cx="2570185" cy="235035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4" name="Bildplatzhalter 6">
            <a:extLst>
              <a:ext uri="{FF2B5EF4-FFF2-40B4-BE49-F238E27FC236}">
                <a16:creationId xmlns:a16="http://schemas.microsoft.com/office/drawing/2014/main" xmlns="" id="{E73BDD7E-D6A6-482B-9D61-5276F4F4997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9819" y="1857149"/>
            <a:ext cx="1342015" cy="2075553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xmlns="" id="{D4C3F840-A666-4D4F-B080-E849549C17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2653" y="2760959"/>
            <a:ext cx="2671574" cy="80169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54" name="Textplatzhalter 29">
            <a:extLst>
              <a:ext uri="{FF2B5EF4-FFF2-40B4-BE49-F238E27FC236}">
                <a16:creationId xmlns:a16="http://schemas.microsoft.com/office/drawing/2014/main" xmlns="" id="{1183BB15-4C0C-49C5-B0B2-4418E3FD55E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42653" y="1857148"/>
            <a:ext cx="2671574" cy="235035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5" name="Textplatzhalter 30">
            <a:extLst>
              <a:ext uri="{FF2B5EF4-FFF2-40B4-BE49-F238E27FC236}">
                <a16:creationId xmlns:a16="http://schemas.microsoft.com/office/drawing/2014/main" xmlns="" id="{0C6CA511-61C0-47B0-A071-DE19417241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42653" y="2181304"/>
            <a:ext cx="2671574" cy="235035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56" name="Bildplatzhalter 6">
            <a:extLst>
              <a:ext uri="{FF2B5EF4-FFF2-40B4-BE49-F238E27FC236}">
                <a16:creationId xmlns:a16="http://schemas.microsoft.com/office/drawing/2014/main" xmlns="" id="{B0EA41BA-7C5A-4545-A1DA-71964B045D1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gray">
          <a:xfrm>
            <a:off x="4733409" y="1857149"/>
            <a:ext cx="1342015" cy="2075553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8" name="Titel 1">
            <a:extLst>
              <a:ext uri="{FF2B5EF4-FFF2-40B4-BE49-F238E27FC236}">
                <a16:creationId xmlns:a16="http://schemas.microsoft.com/office/drawing/2014/main" xmlns="" id="{2DD72F4F-E3F2-49DC-BBAE-681D615ED49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464411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277567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="" xmlns:a16="http://schemas.microsoft.com/office/drawing/2014/main" id="{5020DAB1-6624-4F6F-85BE-D8BE78A1A5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87149" y="5422244"/>
            <a:ext cx="2311296" cy="850557"/>
          </a:xfrm>
          <a:prstGeom prst="rect">
            <a:avLst/>
          </a:prstGeom>
        </p:spPr>
      </p:pic>
      <p:sp>
        <p:nvSpPr>
          <p:cNvPr id="13" name="Bar">
            <a:extLst>
              <a:ext uri="{FF2B5EF4-FFF2-40B4-BE49-F238E27FC236}">
                <a16:creationId xmlns="" xmlns:a16="http://schemas.microsoft.com/office/drawing/2014/main" id="{8C59F0BE-E094-4F6F-B663-07A571A19A62}"/>
              </a:ext>
            </a:extLst>
          </p:cNvPr>
          <p:cNvSpPr/>
          <p:nvPr userDrawn="1"/>
        </p:nvSpPr>
        <p:spPr bwMode="gray">
          <a:xfrm>
            <a:off x="5369092" y="4886961"/>
            <a:ext cx="3647908" cy="29712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3700611"/>
            <a:ext cx="7970837" cy="592470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Projektname | Datum</a:t>
            </a:r>
          </a:p>
        </p:txBody>
      </p:sp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51" y="2782265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lternative Titelfolie</a:t>
            </a:r>
            <a:br>
              <a:rPr lang="de-DE" dirty="0"/>
            </a:br>
            <a:r>
              <a:rPr lang="de-DE" dirty="0"/>
              <a:t>ohne Foto</a:t>
            </a:r>
          </a:p>
        </p:txBody>
      </p:sp>
      <p:grpSp>
        <p:nvGrpSpPr>
          <p:cNvPr id="8" name="Key Visual">
            <a:extLst>
              <a:ext uri="{FF2B5EF4-FFF2-40B4-BE49-F238E27FC236}">
                <a16:creationId xmlns="" xmlns:a16="http://schemas.microsoft.com/office/drawing/2014/main" id="{1E0F1E1C-CA23-484C-B4BB-7C7FB71D6C86}"/>
              </a:ext>
            </a:extLst>
          </p:cNvPr>
          <p:cNvGrpSpPr/>
          <p:nvPr userDrawn="1"/>
        </p:nvGrpSpPr>
        <p:grpSpPr bwMode="gray">
          <a:xfrm>
            <a:off x="123138" y="165102"/>
            <a:ext cx="3783013" cy="1340924"/>
            <a:chOff x="4846637" y="119557"/>
            <a:chExt cx="3783013" cy="1005693"/>
          </a:xfrm>
        </p:grpSpPr>
        <p:sp>
          <p:nvSpPr>
            <p:cNvPr id="9" name="Freihandform: Form 8">
              <a:extLst>
                <a:ext uri="{FF2B5EF4-FFF2-40B4-BE49-F238E27FC236}">
                  <a16:creationId xmlns="" xmlns:a16="http://schemas.microsoft.com/office/drawing/2014/main" id="{361BEDD0-CC28-449C-8AF8-28ECB9820DCA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4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2AF78ACF-6170-47AC-80E0-F6021AD8B19F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="" xmlns:a16="http://schemas.microsoft.com/office/drawing/2014/main" id="{5BAE5611-256D-4234-B00F-EB779B3EA961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D32235C7-71CD-4034-844A-03FD0D112CE2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="" xmlns:a16="http://schemas.microsoft.com/office/drawing/2014/main" id="{717CA073-D9FE-4EFD-801F-27AB9308B312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2492519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6" y="165100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6" y="165100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1059418" y="6583900"/>
            <a:ext cx="533639" cy="92333"/>
          </a:xfrm>
        </p:spPr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>
          <a:xfrm>
            <a:off x="1783023" y="6583902"/>
            <a:ext cx="5839479" cy="92333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49817" y="6583900"/>
            <a:ext cx="450850" cy="92333"/>
          </a:xfrm>
        </p:spPr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xmlns="" id="{3B6C23A5-1B72-42F2-B92F-DC68B632F6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083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xmlns="" id="{F0C65784-9410-409B-82EA-6584D4732C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9817" y="3965951"/>
            <a:ext cx="2608495" cy="72014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20" name="Textplatzhalter 29">
            <a:extLst>
              <a:ext uri="{FF2B5EF4-FFF2-40B4-BE49-F238E27FC236}">
                <a16:creationId xmlns:a16="http://schemas.microsoft.com/office/drawing/2014/main" xmlns="" id="{85761457-A63B-46F2-99C5-E217A1E0A70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449817" y="3345197"/>
            <a:ext cx="2608495" cy="235035"/>
          </a:xfrm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platzhalter 30">
            <a:extLst>
              <a:ext uri="{FF2B5EF4-FFF2-40B4-BE49-F238E27FC236}">
                <a16:creationId xmlns:a16="http://schemas.microsoft.com/office/drawing/2014/main" xmlns="" id="{CB52D947-0416-4964-B28D-129580E4772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9817" y="3581825"/>
            <a:ext cx="2608495" cy="235035"/>
          </a:xfrm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5" name="Bildplatzhalter 6">
            <a:extLst>
              <a:ext uri="{FF2B5EF4-FFF2-40B4-BE49-F238E27FC236}">
                <a16:creationId xmlns:a16="http://schemas.microsoft.com/office/drawing/2014/main" xmlns="" id="{FC763A8F-9E6C-4EEB-90DC-0F65B80379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9818" y="1569543"/>
            <a:ext cx="1016580" cy="1572237"/>
          </a:xfrm>
          <a:solidFill>
            <a:schemeClr val="bg2"/>
          </a:solidFill>
        </p:spPr>
        <p:txBody>
          <a:bodyPr vert="horz" lIns="36000" tIns="864000" rIns="36000" bIns="36000" rtlCol="0">
            <a:noAutofit/>
          </a:bodyPr>
          <a:lstStyle>
            <a:lvl1pPr algn="ctr">
              <a:defRPr lang="en-GB" sz="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xmlns="" id="{A3959264-4C48-474A-BB44-B8C103D1F2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348458" y="3965951"/>
            <a:ext cx="2608495" cy="72014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24" name="Textplatzhalter 29">
            <a:extLst>
              <a:ext uri="{FF2B5EF4-FFF2-40B4-BE49-F238E27FC236}">
                <a16:creationId xmlns:a16="http://schemas.microsoft.com/office/drawing/2014/main" xmlns="" id="{37C5BE72-A50D-4E1F-A698-7239B19ED5F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3348458" y="3345197"/>
            <a:ext cx="2608495" cy="235035"/>
          </a:xfrm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5" name="Textplatzhalter 30">
            <a:extLst>
              <a:ext uri="{FF2B5EF4-FFF2-40B4-BE49-F238E27FC236}">
                <a16:creationId xmlns:a16="http://schemas.microsoft.com/office/drawing/2014/main" xmlns="" id="{BBC5F177-59CC-4E2C-8920-EF6014FA21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348458" y="3581825"/>
            <a:ext cx="2608495" cy="235035"/>
          </a:xfrm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6" name="Bildplatzhalter 6">
            <a:extLst>
              <a:ext uri="{FF2B5EF4-FFF2-40B4-BE49-F238E27FC236}">
                <a16:creationId xmlns:a16="http://schemas.microsoft.com/office/drawing/2014/main" xmlns="" id="{BB2B85DB-7C09-47DD-8B78-3BE26DF1732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gray">
          <a:xfrm>
            <a:off x="3348459" y="1569543"/>
            <a:ext cx="1016580" cy="1572237"/>
          </a:xfrm>
          <a:solidFill>
            <a:schemeClr val="bg2"/>
          </a:solidFill>
        </p:spPr>
        <p:txBody>
          <a:bodyPr vert="horz" lIns="36000" tIns="864000" rIns="36000" bIns="36000" rtlCol="0">
            <a:noAutofit/>
          </a:bodyPr>
          <a:lstStyle>
            <a:lvl1pPr algn="ctr">
              <a:defRPr lang="en-GB" sz="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7" name="Textplatzhalter 16">
            <a:extLst>
              <a:ext uri="{FF2B5EF4-FFF2-40B4-BE49-F238E27FC236}">
                <a16:creationId xmlns:a16="http://schemas.microsoft.com/office/drawing/2014/main" xmlns="" id="{C376165A-CE76-4372-91C7-F6C54DEAFE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47099" y="3965951"/>
            <a:ext cx="2608495" cy="72014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38" name="Textplatzhalter 29">
            <a:extLst>
              <a:ext uri="{FF2B5EF4-FFF2-40B4-BE49-F238E27FC236}">
                <a16:creationId xmlns:a16="http://schemas.microsoft.com/office/drawing/2014/main" xmlns="" id="{12DC0B08-9C2F-4A20-8D25-AB673DE13D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6247099" y="3345197"/>
            <a:ext cx="2608495" cy="235035"/>
          </a:xfrm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extplatzhalter 30">
            <a:extLst>
              <a:ext uri="{FF2B5EF4-FFF2-40B4-BE49-F238E27FC236}">
                <a16:creationId xmlns:a16="http://schemas.microsoft.com/office/drawing/2014/main" xmlns="" id="{7DB1B252-5879-4206-BDF8-0A22178C042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247099" y="3581825"/>
            <a:ext cx="2608495" cy="235035"/>
          </a:xfrm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40" name="Bildplatzhalter 6">
            <a:extLst>
              <a:ext uri="{FF2B5EF4-FFF2-40B4-BE49-F238E27FC236}">
                <a16:creationId xmlns:a16="http://schemas.microsoft.com/office/drawing/2014/main" xmlns="" id="{DD64FA03-A54F-412F-96FC-EE4E88E5DD5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6247100" y="1569543"/>
            <a:ext cx="1016580" cy="1572237"/>
          </a:xfrm>
          <a:solidFill>
            <a:schemeClr val="bg2"/>
          </a:solidFill>
        </p:spPr>
        <p:txBody>
          <a:bodyPr vert="horz" lIns="36000" tIns="864000" rIns="36000" bIns="36000" rtlCol="0">
            <a:noAutofit/>
          </a:bodyPr>
          <a:lstStyle>
            <a:lvl1pPr algn="ctr">
              <a:defRPr lang="en-GB" sz="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42" name="TextBox 7">
            <a:extLst>
              <a:ext uri="{FF2B5EF4-FFF2-40B4-BE49-F238E27FC236}">
                <a16:creationId xmlns:a16="http://schemas.microsoft.com/office/drawing/2014/main" xmlns="" id="{0ACBC6BD-AF1C-4AC3-B989-7C0851FD4A36}"/>
              </a:ext>
            </a:extLst>
          </p:cNvPr>
          <p:cNvSpPr txBox="1"/>
          <p:nvPr userDrawn="1"/>
        </p:nvSpPr>
        <p:spPr bwMode="gray">
          <a:xfrm>
            <a:off x="784637" y="5403597"/>
            <a:ext cx="8386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www.giz.de</a:t>
            </a:r>
          </a:p>
        </p:txBody>
      </p:sp>
      <p:pic>
        <p:nvPicPr>
          <p:cNvPr id="43" name="Grafik 42" descr="Ein Bild, das Axt, Werkzeug enthält.&#10;&#10;Mit sehr hoher Zuverlässigkeit generierte Beschreibung">
            <a:extLst>
              <a:ext uri="{FF2B5EF4-FFF2-40B4-BE49-F238E27FC236}">
                <a16:creationId xmlns:a16="http://schemas.microsoft.com/office/drawing/2014/main" xmlns="" id="{1409F6AC-26EC-4924-85C7-7C52829EA0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273484" y="5442594"/>
            <a:ext cx="290728" cy="315277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xmlns="" id="{95D9641D-18D8-4757-B59C-824BED8ECD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961178" y="5408250"/>
            <a:ext cx="234516" cy="312685"/>
          </a:xfrm>
          <a:prstGeom prst="rect">
            <a:avLst/>
          </a:prstGeom>
        </p:spPr>
      </p:pic>
      <p:grpSp>
        <p:nvGrpSpPr>
          <p:cNvPr id="45" name="Gruppieren 44">
            <a:extLst>
              <a:ext uri="{FF2B5EF4-FFF2-40B4-BE49-F238E27FC236}">
                <a16:creationId xmlns:a16="http://schemas.microsoft.com/office/drawing/2014/main" xmlns="" id="{5C7EA8DE-E5C0-4542-A14B-2F893BDFC8D1}"/>
              </a:ext>
            </a:extLst>
          </p:cNvPr>
          <p:cNvGrpSpPr/>
          <p:nvPr userDrawn="1"/>
        </p:nvGrpSpPr>
        <p:grpSpPr bwMode="gray">
          <a:xfrm>
            <a:off x="444492" y="5372336"/>
            <a:ext cx="262622" cy="396344"/>
            <a:chOff x="4933951" y="-41275"/>
            <a:chExt cx="2130425" cy="2411413"/>
          </a:xfrm>
        </p:grpSpPr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xmlns="" id="{05EE60F5-13C7-4FF2-87FA-B42FCFE9CCF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1435100"/>
              <a:ext cx="2114550" cy="935038"/>
            </a:xfrm>
            <a:custGeom>
              <a:avLst/>
              <a:gdLst>
                <a:gd name="T0" fmla="*/ 287 w 425"/>
                <a:gd name="T1" fmla="*/ 25 h 188"/>
                <a:gd name="T2" fmla="*/ 297 w 425"/>
                <a:gd name="T3" fmla="*/ 2 h 188"/>
                <a:gd name="T4" fmla="*/ 325 w 425"/>
                <a:gd name="T5" fmla="*/ 0 h 188"/>
                <a:gd name="T6" fmla="*/ 321 w 425"/>
                <a:gd name="T7" fmla="*/ 23 h 188"/>
                <a:gd name="T8" fmla="*/ 382 w 425"/>
                <a:gd name="T9" fmla="*/ 25 h 188"/>
                <a:gd name="T10" fmla="*/ 394 w 425"/>
                <a:gd name="T11" fmla="*/ 2 h 188"/>
                <a:gd name="T12" fmla="*/ 423 w 425"/>
                <a:gd name="T13" fmla="*/ 0 h 188"/>
                <a:gd name="T14" fmla="*/ 307 w 425"/>
                <a:gd name="T15" fmla="*/ 135 h 188"/>
                <a:gd name="T16" fmla="*/ 0 w 425"/>
                <a:gd name="T17" fmla="*/ 2 h 188"/>
                <a:gd name="T18" fmla="*/ 28 w 425"/>
                <a:gd name="T19" fmla="*/ 0 h 188"/>
                <a:gd name="T20" fmla="*/ 40 w 425"/>
                <a:gd name="T21" fmla="*/ 23 h 188"/>
                <a:gd name="T22" fmla="*/ 101 w 425"/>
                <a:gd name="T23" fmla="*/ 25 h 188"/>
                <a:gd name="T24" fmla="*/ 97 w 425"/>
                <a:gd name="T25" fmla="*/ 3 h 188"/>
                <a:gd name="T26" fmla="*/ 125 w 425"/>
                <a:gd name="T27" fmla="*/ 0 h 188"/>
                <a:gd name="T28" fmla="*/ 134 w 425"/>
                <a:gd name="T29" fmla="*/ 23 h 188"/>
                <a:gd name="T30" fmla="*/ 192 w 425"/>
                <a:gd name="T31" fmla="*/ 25 h 188"/>
                <a:gd name="T32" fmla="*/ 194 w 425"/>
                <a:gd name="T33" fmla="*/ 2 h 188"/>
                <a:gd name="T34" fmla="*/ 221 w 425"/>
                <a:gd name="T35" fmla="*/ 0 h 188"/>
                <a:gd name="T36" fmla="*/ 224 w 425"/>
                <a:gd name="T37" fmla="*/ 23 h 188"/>
                <a:gd name="T38" fmla="*/ 256 w 425"/>
                <a:gd name="T39" fmla="*/ 25 h 188"/>
                <a:gd name="T40" fmla="*/ 362 w 425"/>
                <a:gd name="T41" fmla="*/ 55 h 188"/>
                <a:gd name="T42" fmla="*/ 307 w 425"/>
                <a:gd name="T43" fmla="*/ 56 h 188"/>
                <a:gd name="T44" fmla="*/ 256 w 425"/>
                <a:gd name="T45" fmla="*/ 121 h 188"/>
                <a:gd name="T46" fmla="*/ 363 w 425"/>
                <a:gd name="T47" fmla="*/ 56 h 188"/>
                <a:gd name="T48" fmla="*/ 87 w 425"/>
                <a:gd name="T49" fmla="*/ 55 h 188"/>
                <a:gd name="T50" fmla="*/ 61 w 425"/>
                <a:gd name="T51" fmla="*/ 55 h 188"/>
                <a:gd name="T52" fmla="*/ 155 w 425"/>
                <a:gd name="T53" fmla="*/ 118 h 188"/>
                <a:gd name="T54" fmla="*/ 156 w 425"/>
                <a:gd name="T55" fmla="*/ 117 h 188"/>
                <a:gd name="T56" fmla="*/ 111 w 425"/>
                <a:gd name="T57" fmla="*/ 55 h 188"/>
                <a:gd name="T58" fmla="*/ 224 w 425"/>
                <a:gd name="T59" fmla="*/ 81 h 188"/>
                <a:gd name="T60" fmla="*/ 224 w 425"/>
                <a:gd name="T61" fmla="*/ 108 h 188"/>
                <a:gd name="T62" fmla="*/ 273 w 425"/>
                <a:gd name="T63" fmla="*/ 56 h 188"/>
                <a:gd name="T64" fmla="*/ 225 w 425"/>
                <a:gd name="T65" fmla="*/ 55 h 188"/>
                <a:gd name="T66" fmla="*/ 224 w 425"/>
                <a:gd name="T67" fmla="*/ 81 h 188"/>
                <a:gd name="T68" fmla="*/ 194 w 425"/>
                <a:gd name="T69" fmla="*/ 56 h 188"/>
                <a:gd name="T70" fmla="*/ 148 w 425"/>
                <a:gd name="T71" fmla="*/ 55 h 188"/>
                <a:gd name="T72" fmla="*/ 192 w 425"/>
                <a:gd name="T73" fmla="*/ 109 h 188"/>
                <a:gd name="T74" fmla="*/ 194 w 425"/>
                <a:gd name="T75" fmla="*/ 10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5" h="188">
                  <a:moveTo>
                    <a:pt x="256" y="25"/>
                  </a:moveTo>
                  <a:cubicBezTo>
                    <a:pt x="267" y="25"/>
                    <a:pt x="277" y="25"/>
                    <a:pt x="287" y="25"/>
                  </a:cubicBezTo>
                  <a:cubicBezTo>
                    <a:pt x="288" y="25"/>
                    <a:pt x="290" y="24"/>
                    <a:pt x="290" y="23"/>
                  </a:cubicBezTo>
                  <a:cubicBezTo>
                    <a:pt x="292" y="16"/>
                    <a:pt x="294" y="9"/>
                    <a:pt x="297" y="2"/>
                  </a:cubicBezTo>
                  <a:cubicBezTo>
                    <a:pt x="297" y="2"/>
                    <a:pt x="298" y="0"/>
                    <a:pt x="299" y="0"/>
                  </a:cubicBezTo>
                  <a:cubicBezTo>
                    <a:pt x="308" y="0"/>
                    <a:pt x="316" y="0"/>
                    <a:pt x="325" y="0"/>
                  </a:cubicBezTo>
                  <a:cubicBezTo>
                    <a:pt x="326" y="0"/>
                    <a:pt x="327" y="2"/>
                    <a:pt x="326" y="2"/>
                  </a:cubicBezTo>
                  <a:cubicBezTo>
                    <a:pt x="325" y="9"/>
                    <a:pt x="323" y="16"/>
                    <a:pt x="321" y="23"/>
                  </a:cubicBezTo>
                  <a:cubicBezTo>
                    <a:pt x="321" y="23"/>
                    <a:pt x="322" y="25"/>
                    <a:pt x="322" y="25"/>
                  </a:cubicBezTo>
                  <a:cubicBezTo>
                    <a:pt x="342" y="25"/>
                    <a:pt x="362" y="25"/>
                    <a:pt x="382" y="25"/>
                  </a:cubicBezTo>
                  <a:cubicBezTo>
                    <a:pt x="383" y="25"/>
                    <a:pt x="384" y="24"/>
                    <a:pt x="384" y="23"/>
                  </a:cubicBezTo>
                  <a:cubicBezTo>
                    <a:pt x="388" y="16"/>
                    <a:pt x="391" y="9"/>
                    <a:pt x="394" y="2"/>
                  </a:cubicBezTo>
                  <a:cubicBezTo>
                    <a:pt x="394" y="1"/>
                    <a:pt x="395" y="0"/>
                    <a:pt x="396" y="0"/>
                  </a:cubicBezTo>
                  <a:cubicBezTo>
                    <a:pt x="405" y="0"/>
                    <a:pt x="414" y="0"/>
                    <a:pt x="423" y="0"/>
                  </a:cubicBezTo>
                  <a:cubicBezTo>
                    <a:pt x="424" y="0"/>
                    <a:pt x="425" y="2"/>
                    <a:pt x="425" y="3"/>
                  </a:cubicBezTo>
                  <a:cubicBezTo>
                    <a:pt x="405" y="64"/>
                    <a:pt x="365" y="108"/>
                    <a:pt x="307" y="135"/>
                  </a:cubicBezTo>
                  <a:cubicBezTo>
                    <a:pt x="195" y="188"/>
                    <a:pt x="60" y="139"/>
                    <a:pt x="10" y="28"/>
                  </a:cubicBezTo>
                  <a:cubicBezTo>
                    <a:pt x="6" y="20"/>
                    <a:pt x="3" y="11"/>
                    <a:pt x="0" y="2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10" y="0"/>
                    <a:pt x="19" y="0"/>
                    <a:pt x="28" y="0"/>
                  </a:cubicBezTo>
                  <a:cubicBezTo>
                    <a:pt x="29" y="0"/>
                    <a:pt x="30" y="1"/>
                    <a:pt x="31" y="2"/>
                  </a:cubicBezTo>
                  <a:cubicBezTo>
                    <a:pt x="34" y="9"/>
                    <a:pt x="37" y="16"/>
                    <a:pt x="40" y="23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62" y="25"/>
                    <a:pt x="81" y="25"/>
                    <a:pt x="101" y="25"/>
                  </a:cubicBezTo>
                  <a:cubicBezTo>
                    <a:pt x="101" y="25"/>
                    <a:pt x="102" y="23"/>
                    <a:pt x="102" y="23"/>
                  </a:cubicBezTo>
                  <a:cubicBezTo>
                    <a:pt x="101" y="16"/>
                    <a:pt x="99" y="9"/>
                    <a:pt x="97" y="3"/>
                  </a:cubicBezTo>
                  <a:cubicBezTo>
                    <a:pt x="97" y="2"/>
                    <a:pt x="98" y="0"/>
                    <a:pt x="99" y="0"/>
                  </a:cubicBezTo>
                  <a:cubicBezTo>
                    <a:pt x="108" y="0"/>
                    <a:pt x="116" y="0"/>
                    <a:pt x="125" y="0"/>
                  </a:cubicBezTo>
                  <a:cubicBezTo>
                    <a:pt x="126" y="0"/>
                    <a:pt x="127" y="1"/>
                    <a:pt x="127" y="2"/>
                  </a:cubicBezTo>
                  <a:cubicBezTo>
                    <a:pt x="130" y="9"/>
                    <a:pt x="131" y="16"/>
                    <a:pt x="134" y="23"/>
                  </a:cubicBezTo>
                  <a:cubicBezTo>
                    <a:pt x="134" y="24"/>
                    <a:pt x="135" y="25"/>
                    <a:pt x="136" y="25"/>
                  </a:cubicBezTo>
                  <a:cubicBezTo>
                    <a:pt x="155" y="25"/>
                    <a:pt x="173" y="25"/>
                    <a:pt x="192" y="25"/>
                  </a:cubicBezTo>
                  <a:cubicBezTo>
                    <a:pt x="193" y="25"/>
                    <a:pt x="194" y="24"/>
                    <a:pt x="194" y="23"/>
                  </a:cubicBezTo>
                  <a:cubicBezTo>
                    <a:pt x="194" y="16"/>
                    <a:pt x="194" y="9"/>
                    <a:pt x="194" y="2"/>
                  </a:cubicBezTo>
                  <a:cubicBezTo>
                    <a:pt x="194" y="2"/>
                    <a:pt x="195" y="0"/>
                    <a:pt x="196" y="0"/>
                  </a:cubicBezTo>
                  <a:cubicBezTo>
                    <a:pt x="205" y="0"/>
                    <a:pt x="213" y="0"/>
                    <a:pt x="221" y="0"/>
                  </a:cubicBezTo>
                  <a:cubicBezTo>
                    <a:pt x="222" y="0"/>
                    <a:pt x="223" y="2"/>
                    <a:pt x="223" y="3"/>
                  </a:cubicBezTo>
                  <a:cubicBezTo>
                    <a:pt x="224" y="9"/>
                    <a:pt x="223" y="16"/>
                    <a:pt x="224" y="23"/>
                  </a:cubicBezTo>
                  <a:cubicBezTo>
                    <a:pt x="224" y="23"/>
                    <a:pt x="225" y="25"/>
                    <a:pt x="226" y="25"/>
                  </a:cubicBezTo>
                  <a:cubicBezTo>
                    <a:pt x="236" y="25"/>
                    <a:pt x="246" y="25"/>
                    <a:pt x="256" y="25"/>
                  </a:cubicBezTo>
                  <a:close/>
                  <a:moveTo>
                    <a:pt x="364" y="55"/>
                  </a:moveTo>
                  <a:cubicBezTo>
                    <a:pt x="363" y="55"/>
                    <a:pt x="363" y="55"/>
                    <a:pt x="362" y="55"/>
                  </a:cubicBezTo>
                  <a:cubicBezTo>
                    <a:pt x="345" y="55"/>
                    <a:pt x="328" y="54"/>
                    <a:pt x="311" y="55"/>
                  </a:cubicBezTo>
                  <a:cubicBezTo>
                    <a:pt x="310" y="55"/>
                    <a:pt x="308" y="56"/>
                    <a:pt x="307" y="56"/>
                  </a:cubicBezTo>
                  <a:cubicBezTo>
                    <a:pt x="295" y="81"/>
                    <a:pt x="279" y="103"/>
                    <a:pt x="257" y="120"/>
                  </a:cubicBezTo>
                  <a:cubicBezTo>
                    <a:pt x="257" y="121"/>
                    <a:pt x="257" y="121"/>
                    <a:pt x="256" y="121"/>
                  </a:cubicBezTo>
                  <a:cubicBezTo>
                    <a:pt x="257" y="122"/>
                    <a:pt x="257" y="122"/>
                    <a:pt x="258" y="122"/>
                  </a:cubicBezTo>
                  <a:cubicBezTo>
                    <a:pt x="300" y="111"/>
                    <a:pt x="335" y="90"/>
                    <a:pt x="363" y="56"/>
                  </a:cubicBezTo>
                  <a:cubicBezTo>
                    <a:pt x="363" y="56"/>
                    <a:pt x="364" y="55"/>
                    <a:pt x="364" y="55"/>
                  </a:cubicBezTo>
                  <a:close/>
                  <a:moveTo>
                    <a:pt x="87" y="55"/>
                  </a:moveTo>
                  <a:cubicBezTo>
                    <a:pt x="79" y="55"/>
                    <a:pt x="71" y="54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5"/>
                    <a:pt x="61" y="56"/>
                    <a:pt x="62" y="56"/>
                  </a:cubicBezTo>
                  <a:cubicBezTo>
                    <a:pt x="86" y="86"/>
                    <a:pt x="118" y="107"/>
                    <a:pt x="155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8"/>
                    <a:pt x="156" y="118"/>
                    <a:pt x="156" y="117"/>
                  </a:cubicBezTo>
                  <a:cubicBezTo>
                    <a:pt x="137" y="100"/>
                    <a:pt x="124" y="79"/>
                    <a:pt x="114" y="56"/>
                  </a:cubicBezTo>
                  <a:cubicBezTo>
                    <a:pt x="114" y="55"/>
                    <a:pt x="112" y="55"/>
                    <a:pt x="111" y="55"/>
                  </a:cubicBezTo>
                  <a:cubicBezTo>
                    <a:pt x="103" y="54"/>
                    <a:pt x="95" y="55"/>
                    <a:pt x="87" y="55"/>
                  </a:cubicBezTo>
                  <a:close/>
                  <a:moveTo>
                    <a:pt x="224" y="81"/>
                  </a:moveTo>
                  <a:cubicBezTo>
                    <a:pt x="224" y="89"/>
                    <a:pt x="224" y="98"/>
                    <a:pt x="224" y="106"/>
                  </a:cubicBezTo>
                  <a:cubicBezTo>
                    <a:pt x="224" y="107"/>
                    <a:pt x="224" y="107"/>
                    <a:pt x="224" y="108"/>
                  </a:cubicBezTo>
                  <a:cubicBezTo>
                    <a:pt x="224" y="108"/>
                    <a:pt x="225" y="107"/>
                    <a:pt x="226" y="107"/>
                  </a:cubicBezTo>
                  <a:cubicBezTo>
                    <a:pt x="246" y="94"/>
                    <a:pt x="261" y="76"/>
                    <a:pt x="273" y="56"/>
                  </a:cubicBezTo>
                  <a:cubicBezTo>
                    <a:pt x="274" y="56"/>
                    <a:pt x="273" y="55"/>
                    <a:pt x="272" y="55"/>
                  </a:cubicBezTo>
                  <a:cubicBezTo>
                    <a:pt x="257" y="54"/>
                    <a:pt x="241" y="54"/>
                    <a:pt x="225" y="55"/>
                  </a:cubicBezTo>
                  <a:cubicBezTo>
                    <a:pt x="225" y="55"/>
                    <a:pt x="224" y="56"/>
                    <a:pt x="224" y="56"/>
                  </a:cubicBezTo>
                  <a:cubicBezTo>
                    <a:pt x="224" y="65"/>
                    <a:pt x="224" y="73"/>
                    <a:pt x="224" y="81"/>
                  </a:cubicBezTo>
                  <a:close/>
                  <a:moveTo>
                    <a:pt x="194" y="82"/>
                  </a:moveTo>
                  <a:cubicBezTo>
                    <a:pt x="194" y="73"/>
                    <a:pt x="194" y="65"/>
                    <a:pt x="194" y="56"/>
                  </a:cubicBezTo>
                  <a:cubicBezTo>
                    <a:pt x="194" y="56"/>
                    <a:pt x="193" y="55"/>
                    <a:pt x="192" y="55"/>
                  </a:cubicBezTo>
                  <a:cubicBezTo>
                    <a:pt x="178" y="54"/>
                    <a:pt x="163" y="54"/>
                    <a:pt x="148" y="55"/>
                  </a:cubicBezTo>
                  <a:cubicBezTo>
                    <a:pt x="148" y="55"/>
                    <a:pt x="147" y="56"/>
                    <a:pt x="147" y="56"/>
                  </a:cubicBezTo>
                  <a:cubicBezTo>
                    <a:pt x="158" y="77"/>
                    <a:pt x="172" y="95"/>
                    <a:pt x="192" y="109"/>
                  </a:cubicBezTo>
                  <a:cubicBezTo>
                    <a:pt x="193" y="109"/>
                    <a:pt x="193" y="109"/>
                    <a:pt x="194" y="109"/>
                  </a:cubicBezTo>
                  <a:cubicBezTo>
                    <a:pt x="194" y="109"/>
                    <a:pt x="194" y="108"/>
                    <a:pt x="194" y="108"/>
                  </a:cubicBezTo>
                  <a:cubicBezTo>
                    <a:pt x="194" y="99"/>
                    <a:pt x="194" y="91"/>
                    <a:pt x="19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xmlns="" id="{BAA2DC66-D523-4725-9384-AA70E4C61D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-41275"/>
              <a:ext cx="2108200" cy="860425"/>
            </a:xfrm>
            <a:custGeom>
              <a:avLst/>
              <a:gdLst>
                <a:gd name="T0" fmla="*/ 45 w 424"/>
                <a:gd name="T1" fmla="*/ 148 h 173"/>
                <a:gd name="T2" fmla="*/ 32 w 424"/>
                <a:gd name="T3" fmla="*/ 170 h 173"/>
                <a:gd name="T4" fmla="*/ 3 w 424"/>
                <a:gd name="T5" fmla="*/ 173 h 173"/>
                <a:gd name="T6" fmla="*/ 155 w 424"/>
                <a:gd name="T7" fmla="*/ 28 h 173"/>
                <a:gd name="T8" fmla="*/ 424 w 424"/>
                <a:gd name="T9" fmla="*/ 171 h 173"/>
                <a:gd name="T10" fmla="*/ 395 w 424"/>
                <a:gd name="T11" fmla="*/ 173 h 173"/>
                <a:gd name="T12" fmla="*/ 382 w 424"/>
                <a:gd name="T13" fmla="*/ 149 h 173"/>
                <a:gd name="T14" fmla="*/ 321 w 424"/>
                <a:gd name="T15" fmla="*/ 148 h 173"/>
                <a:gd name="T16" fmla="*/ 325 w 424"/>
                <a:gd name="T17" fmla="*/ 171 h 173"/>
                <a:gd name="T18" fmla="*/ 297 w 424"/>
                <a:gd name="T19" fmla="*/ 173 h 173"/>
                <a:gd name="T20" fmla="*/ 287 w 424"/>
                <a:gd name="T21" fmla="*/ 149 h 173"/>
                <a:gd name="T22" fmla="*/ 225 w 424"/>
                <a:gd name="T23" fmla="*/ 148 h 173"/>
                <a:gd name="T24" fmla="*/ 223 w 424"/>
                <a:gd name="T25" fmla="*/ 170 h 173"/>
                <a:gd name="T26" fmla="*/ 196 w 424"/>
                <a:gd name="T27" fmla="*/ 173 h 173"/>
                <a:gd name="T28" fmla="*/ 194 w 424"/>
                <a:gd name="T29" fmla="*/ 150 h 173"/>
                <a:gd name="T30" fmla="*/ 137 w 424"/>
                <a:gd name="T31" fmla="*/ 148 h 173"/>
                <a:gd name="T32" fmla="*/ 128 w 424"/>
                <a:gd name="T33" fmla="*/ 171 h 173"/>
                <a:gd name="T34" fmla="*/ 99 w 424"/>
                <a:gd name="T35" fmla="*/ 173 h 173"/>
                <a:gd name="T36" fmla="*/ 103 w 424"/>
                <a:gd name="T37" fmla="*/ 150 h 173"/>
                <a:gd name="T38" fmla="*/ 73 w 424"/>
                <a:gd name="T39" fmla="*/ 148 h 173"/>
                <a:gd name="T40" fmla="*/ 359 w 424"/>
                <a:gd name="T41" fmla="*/ 118 h 173"/>
                <a:gd name="T42" fmla="*/ 360 w 424"/>
                <a:gd name="T43" fmla="*/ 116 h 173"/>
                <a:gd name="T44" fmla="*/ 258 w 424"/>
                <a:gd name="T45" fmla="*/ 56 h 173"/>
                <a:gd name="T46" fmla="*/ 305 w 424"/>
                <a:gd name="T47" fmla="*/ 116 h 173"/>
                <a:gd name="T48" fmla="*/ 333 w 424"/>
                <a:gd name="T49" fmla="*/ 118 h 173"/>
                <a:gd name="T50" fmla="*/ 113 w 424"/>
                <a:gd name="T51" fmla="*/ 118 h 173"/>
                <a:gd name="T52" fmla="*/ 157 w 424"/>
                <a:gd name="T53" fmla="*/ 59 h 173"/>
                <a:gd name="T54" fmla="*/ 157 w 424"/>
                <a:gd name="T55" fmla="*/ 58 h 173"/>
                <a:gd name="T56" fmla="*/ 64 w 424"/>
                <a:gd name="T57" fmla="*/ 118 h 173"/>
                <a:gd name="T58" fmla="*/ 90 w 424"/>
                <a:gd name="T59" fmla="*/ 118 h 173"/>
                <a:gd name="T60" fmla="*/ 269 w 424"/>
                <a:gd name="T61" fmla="*/ 118 h 173"/>
                <a:gd name="T62" fmla="*/ 225 w 424"/>
                <a:gd name="T63" fmla="*/ 68 h 173"/>
                <a:gd name="T64" fmla="*/ 224 w 424"/>
                <a:gd name="T65" fmla="*/ 69 h 173"/>
                <a:gd name="T66" fmla="*/ 225 w 424"/>
                <a:gd name="T67" fmla="*/ 118 h 173"/>
                <a:gd name="T68" fmla="*/ 194 w 424"/>
                <a:gd name="T69" fmla="*/ 93 h 173"/>
                <a:gd name="T70" fmla="*/ 194 w 424"/>
                <a:gd name="T71" fmla="*/ 68 h 173"/>
                <a:gd name="T72" fmla="*/ 150 w 424"/>
                <a:gd name="T73" fmla="*/ 116 h 173"/>
                <a:gd name="T74" fmla="*/ 192 w 424"/>
                <a:gd name="T75" fmla="*/ 118 h 173"/>
                <a:gd name="T76" fmla="*/ 194 w 424"/>
                <a:gd name="T77" fmla="*/ 9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4" h="173">
                  <a:moveTo>
                    <a:pt x="73" y="148"/>
                  </a:moveTo>
                  <a:cubicBezTo>
                    <a:pt x="64" y="148"/>
                    <a:pt x="55" y="148"/>
                    <a:pt x="45" y="148"/>
                  </a:cubicBezTo>
                  <a:cubicBezTo>
                    <a:pt x="44" y="148"/>
                    <a:pt x="43" y="149"/>
                    <a:pt x="42" y="149"/>
                  </a:cubicBezTo>
                  <a:cubicBezTo>
                    <a:pt x="39" y="156"/>
                    <a:pt x="36" y="164"/>
                    <a:pt x="32" y="170"/>
                  </a:cubicBezTo>
                  <a:cubicBezTo>
                    <a:pt x="32" y="171"/>
                    <a:pt x="30" y="173"/>
                    <a:pt x="29" y="173"/>
                  </a:cubicBezTo>
                  <a:cubicBezTo>
                    <a:pt x="21" y="173"/>
                    <a:pt x="12" y="173"/>
                    <a:pt x="3" y="173"/>
                  </a:cubicBezTo>
                  <a:cubicBezTo>
                    <a:pt x="1" y="173"/>
                    <a:pt x="0" y="172"/>
                    <a:pt x="1" y="170"/>
                  </a:cubicBezTo>
                  <a:cubicBezTo>
                    <a:pt x="28" y="96"/>
                    <a:pt x="80" y="48"/>
                    <a:pt x="155" y="28"/>
                  </a:cubicBezTo>
                  <a:cubicBezTo>
                    <a:pt x="258" y="0"/>
                    <a:pt x="366" y="50"/>
                    <a:pt x="413" y="144"/>
                  </a:cubicBezTo>
                  <a:cubicBezTo>
                    <a:pt x="417" y="153"/>
                    <a:pt x="420" y="162"/>
                    <a:pt x="424" y="171"/>
                  </a:cubicBezTo>
                  <a:cubicBezTo>
                    <a:pt x="424" y="171"/>
                    <a:pt x="423" y="173"/>
                    <a:pt x="422" y="173"/>
                  </a:cubicBezTo>
                  <a:cubicBezTo>
                    <a:pt x="413" y="173"/>
                    <a:pt x="404" y="173"/>
                    <a:pt x="395" y="173"/>
                  </a:cubicBezTo>
                  <a:cubicBezTo>
                    <a:pt x="394" y="173"/>
                    <a:pt x="393" y="172"/>
                    <a:pt x="392" y="171"/>
                  </a:cubicBezTo>
                  <a:cubicBezTo>
                    <a:pt x="389" y="164"/>
                    <a:pt x="386" y="156"/>
                    <a:pt x="382" y="149"/>
                  </a:cubicBezTo>
                  <a:cubicBezTo>
                    <a:pt x="382" y="148"/>
                    <a:pt x="381" y="148"/>
                    <a:pt x="380" y="148"/>
                  </a:cubicBezTo>
                  <a:cubicBezTo>
                    <a:pt x="360" y="148"/>
                    <a:pt x="340" y="148"/>
                    <a:pt x="321" y="148"/>
                  </a:cubicBezTo>
                  <a:cubicBezTo>
                    <a:pt x="320" y="148"/>
                    <a:pt x="319" y="149"/>
                    <a:pt x="319" y="150"/>
                  </a:cubicBezTo>
                  <a:cubicBezTo>
                    <a:pt x="321" y="157"/>
                    <a:pt x="323" y="164"/>
                    <a:pt x="325" y="171"/>
                  </a:cubicBezTo>
                  <a:cubicBezTo>
                    <a:pt x="325" y="171"/>
                    <a:pt x="325" y="173"/>
                    <a:pt x="324" y="173"/>
                  </a:cubicBezTo>
                  <a:cubicBezTo>
                    <a:pt x="315" y="173"/>
                    <a:pt x="306" y="173"/>
                    <a:pt x="297" y="173"/>
                  </a:cubicBezTo>
                  <a:cubicBezTo>
                    <a:pt x="296" y="173"/>
                    <a:pt x="295" y="172"/>
                    <a:pt x="295" y="171"/>
                  </a:cubicBezTo>
                  <a:cubicBezTo>
                    <a:pt x="292" y="164"/>
                    <a:pt x="290" y="156"/>
                    <a:pt x="287" y="149"/>
                  </a:cubicBezTo>
                  <a:cubicBezTo>
                    <a:pt x="287" y="148"/>
                    <a:pt x="286" y="148"/>
                    <a:pt x="285" y="148"/>
                  </a:cubicBezTo>
                  <a:cubicBezTo>
                    <a:pt x="265" y="148"/>
                    <a:pt x="245" y="148"/>
                    <a:pt x="225" y="148"/>
                  </a:cubicBezTo>
                  <a:cubicBezTo>
                    <a:pt x="225" y="148"/>
                    <a:pt x="224" y="149"/>
                    <a:pt x="224" y="150"/>
                  </a:cubicBezTo>
                  <a:cubicBezTo>
                    <a:pt x="223" y="156"/>
                    <a:pt x="224" y="163"/>
                    <a:pt x="223" y="170"/>
                  </a:cubicBezTo>
                  <a:cubicBezTo>
                    <a:pt x="223" y="171"/>
                    <a:pt x="222" y="173"/>
                    <a:pt x="221" y="173"/>
                  </a:cubicBezTo>
                  <a:cubicBezTo>
                    <a:pt x="213" y="173"/>
                    <a:pt x="205" y="173"/>
                    <a:pt x="196" y="173"/>
                  </a:cubicBezTo>
                  <a:cubicBezTo>
                    <a:pt x="195" y="173"/>
                    <a:pt x="194" y="171"/>
                    <a:pt x="194" y="170"/>
                  </a:cubicBezTo>
                  <a:cubicBezTo>
                    <a:pt x="194" y="164"/>
                    <a:pt x="194" y="157"/>
                    <a:pt x="194" y="150"/>
                  </a:cubicBezTo>
                  <a:cubicBezTo>
                    <a:pt x="194" y="149"/>
                    <a:pt x="193" y="148"/>
                    <a:pt x="192" y="148"/>
                  </a:cubicBezTo>
                  <a:cubicBezTo>
                    <a:pt x="174" y="148"/>
                    <a:pt x="156" y="148"/>
                    <a:pt x="137" y="148"/>
                  </a:cubicBezTo>
                  <a:cubicBezTo>
                    <a:pt x="137" y="148"/>
                    <a:pt x="135" y="149"/>
                    <a:pt x="135" y="149"/>
                  </a:cubicBezTo>
                  <a:cubicBezTo>
                    <a:pt x="133" y="156"/>
                    <a:pt x="131" y="164"/>
                    <a:pt x="128" y="171"/>
                  </a:cubicBezTo>
                  <a:cubicBezTo>
                    <a:pt x="128" y="172"/>
                    <a:pt x="127" y="173"/>
                    <a:pt x="126" y="173"/>
                  </a:cubicBezTo>
                  <a:cubicBezTo>
                    <a:pt x="117" y="173"/>
                    <a:pt x="108" y="173"/>
                    <a:pt x="99" y="173"/>
                  </a:cubicBezTo>
                  <a:cubicBezTo>
                    <a:pt x="99" y="173"/>
                    <a:pt x="98" y="171"/>
                    <a:pt x="98" y="171"/>
                  </a:cubicBezTo>
                  <a:cubicBezTo>
                    <a:pt x="100" y="164"/>
                    <a:pt x="101" y="157"/>
                    <a:pt x="103" y="150"/>
                  </a:cubicBezTo>
                  <a:cubicBezTo>
                    <a:pt x="103" y="149"/>
                    <a:pt x="102" y="148"/>
                    <a:pt x="102" y="148"/>
                  </a:cubicBezTo>
                  <a:cubicBezTo>
                    <a:pt x="92" y="148"/>
                    <a:pt x="83" y="148"/>
                    <a:pt x="73" y="148"/>
                  </a:cubicBezTo>
                  <a:close/>
                  <a:moveTo>
                    <a:pt x="333" y="118"/>
                  </a:moveTo>
                  <a:cubicBezTo>
                    <a:pt x="342" y="118"/>
                    <a:pt x="350" y="118"/>
                    <a:pt x="359" y="118"/>
                  </a:cubicBezTo>
                  <a:cubicBezTo>
                    <a:pt x="359" y="118"/>
                    <a:pt x="360" y="118"/>
                    <a:pt x="360" y="118"/>
                  </a:cubicBezTo>
                  <a:cubicBezTo>
                    <a:pt x="360" y="117"/>
                    <a:pt x="360" y="117"/>
                    <a:pt x="360" y="116"/>
                  </a:cubicBezTo>
                  <a:cubicBezTo>
                    <a:pt x="332" y="86"/>
                    <a:pt x="299" y="66"/>
                    <a:pt x="259" y="56"/>
                  </a:cubicBezTo>
                  <a:cubicBezTo>
                    <a:pt x="259" y="56"/>
                    <a:pt x="258" y="56"/>
                    <a:pt x="258" y="56"/>
                  </a:cubicBezTo>
                  <a:cubicBezTo>
                    <a:pt x="258" y="56"/>
                    <a:pt x="258" y="57"/>
                    <a:pt x="259" y="57"/>
                  </a:cubicBezTo>
                  <a:cubicBezTo>
                    <a:pt x="278" y="74"/>
                    <a:pt x="293" y="94"/>
                    <a:pt x="305" y="116"/>
                  </a:cubicBezTo>
                  <a:cubicBezTo>
                    <a:pt x="305" y="117"/>
                    <a:pt x="307" y="118"/>
                    <a:pt x="308" y="118"/>
                  </a:cubicBezTo>
                  <a:cubicBezTo>
                    <a:pt x="316" y="118"/>
                    <a:pt x="325" y="118"/>
                    <a:pt x="333" y="118"/>
                  </a:cubicBezTo>
                  <a:close/>
                  <a:moveTo>
                    <a:pt x="90" y="118"/>
                  </a:moveTo>
                  <a:cubicBezTo>
                    <a:pt x="98" y="118"/>
                    <a:pt x="106" y="118"/>
                    <a:pt x="113" y="118"/>
                  </a:cubicBezTo>
                  <a:cubicBezTo>
                    <a:pt x="114" y="118"/>
                    <a:pt x="116" y="117"/>
                    <a:pt x="116" y="116"/>
                  </a:cubicBezTo>
                  <a:cubicBezTo>
                    <a:pt x="127" y="95"/>
                    <a:pt x="140" y="76"/>
                    <a:pt x="157" y="59"/>
                  </a:cubicBezTo>
                  <a:cubicBezTo>
                    <a:pt x="158" y="59"/>
                    <a:pt x="158" y="58"/>
                    <a:pt x="158" y="58"/>
                  </a:cubicBezTo>
                  <a:cubicBezTo>
                    <a:pt x="158" y="58"/>
                    <a:pt x="157" y="58"/>
                    <a:pt x="157" y="58"/>
                  </a:cubicBezTo>
                  <a:cubicBezTo>
                    <a:pt x="121" y="69"/>
                    <a:pt x="90" y="88"/>
                    <a:pt x="65" y="116"/>
                  </a:cubicBezTo>
                  <a:cubicBezTo>
                    <a:pt x="65" y="117"/>
                    <a:pt x="65" y="117"/>
                    <a:pt x="64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74" y="118"/>
                    <a:pt x="82" y="118"/>
                    <a:pt x="90" y="118"/>
                  </a:cubicBezTo>
                  <a:close/>
                  <a:moveTo>
                    <a:pt x="247" y="118"/>
                  </a:moveTo>
                  <a:cubicBezTo>
                    <a:pt x="255" y="118"/>
                    <a:pt x="262" y="118"/>
                    <a:pt x="269" y="118"/>
                  </a:cubicBezTo>
                  <a:cubicBezTo>
                    <a:pt x="270" y="118"/>
                    <a:pt x="270" y="117"/>
                    <a:pt x="270" y="116"/>
                  </a:cubicBezTo>
                  <a:cubicBezTo>
                    <a:pt x="258" y="98"/>
                    <a:pt x="244" y="81"/>
                    <a:pt x="225" y="68"/>
                  </a:cubicBezTo>
                  <a:cubicBezTo>
                    <a:pt x="225" y="68"/>
                    <a:pt x="224" y="68"/>
                    <a:pt x="224" y="67"/>
                  </a:cubicBezTo>
                  <a:cubicBezTo>
                    <a:pt x="224" y="68"/>
                    <a:pt x="224" y="69"/>
                    <a:pt x="224" y="69"/>
                  </a:cubicBezTo>
                  <a:cubicBezTo>
                    <a:pt x="224" y="85"/>
                    <a:pt x="224" y="100"/>
                    <a:pt x="224" y="116"/>
                  </a:cubicBezTo>
                  <a:cubicBezTo>
                    <a:pt x="224" y="117"/>
                    <a:pt x="225" y="118"/>
                    <a:pt x="225" y="118"/>
                  </a:cubicBezTo>
                  <a:cubicBezTo>
                    <a:pt x="233" y="118"/>
                    <a:pt x="240" y="118"/>
                    <a:pt x="247" y="118"/>
                  </a:cubicBezTo>
                  <a:close/>
                  <a:moveTo>
                    <a:pt x="194" y="93"/>
                  </a:moveTo>
                  <a:cubicBezTo>
                    <a:pt x="194" y="85"/>
                    <a:pt x="194" y="78"/>
                    <a:pt x="194" y="70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3" y="68"/>
                    <a:pt x="192" y="68"/>
                    <a:pt x="192" y="69"/>
                  </a:cubicBezTo>
                  <a:cubicBezTo>
                    <a:pt x="175" y="82"/>
                    <a:pt x="161" y="98"/>
                    <a:pt x="150" y="116"/>
                  </a:cubicBezTo>
                  <a:cubicBezTo>
                    <a:pt x="150" y="117"/>
                    <a:pt x="151" y="118"/>
                    <a:pt x="151" y="118"/>
                  </a:cubicBezTo>
                  <a:cubicBezTo>
                    <a:pt x="165" y="118"/>
                    <a:pt x="179" y="118"/>
                    <a:pt x="192" y="118"/>
                  </a:cubicBezTo>
                  <a:cubicBezTo>
                    <a:pt x="193" y="118"/>
                    <a:pt x="194" y="117"/>
                    <a:pt x="194" y="116"/>
                  </a:cubicBezTo>
                  <a:cubicBezTo>
                    <a:pt x="194" y="108"/>
                    <a:pt x="194" y="101"/>
                    <a:pt x="194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xmlns="" id="{575115B3-4C7D-4A6F-93E9-3A63D5591B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3951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4 h 73"/>
                <a:gd name="T12" fmla="*/ 32 w 124"/>
                <a:gd name="T13" fmla="*/ 73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1 h 73"/>
                <a:gd name="T24" fmla="*/ 34 w 124"/>
                <a:gd name="T25" fmla="*/ 49 h 73"/>
                <a:gd name="T26" fmla="*/ 37 w 124"/>
                <a:gd name="T27" fmla="*/ 42 h 73"/>
                <a:gd name="T28" fmla="*/ 47 w 124"/>
                <a:gd name="T29" fmla="*/ 11 h 73"/>
                <a:gd name="T30" fmla="*/ 62 w 124"/>
                <a:gd name="T31" fmla="*/ 1 h 73"/>
                <a:gd name="T32" fmla="*/ 76 w 124"/>
                <a:gd name="T33" fmla="*/ 11 h 73"/>
                <a:gd name="T34" fmla="*/ 89 w 124"/>
                <a:gd name="T35" fmla="*/ 47 h 73"/>
                <a:gd name="T36" fmla="*/ 90 w 124"/>
                <a:gd name="T37" fmla="*/ 49 h 73"/>
                <a:gd name="T38" fmla="*/ 90 w 124"/>
                <a:gd name="T39" fmla="*/ 47 h 73"/>
                <a:gd name="T40" fmla="*/ 101 w 124"/>
                <a:gd name="T41" fmla="*/ 10 h 73"/>
                <a:gd name="T42" fmla="*/ 113 w 124"/>
                <a:gd name="T43" fmla="*/ 1 h 73"/>
                <a:gd name="T44" fmla="*/ 121 w 124"/>
                <a:gd name="T45" fmla="*/ 13 h 73"/>
                <a:gd name="T46" fmla="*/ 104 w 124"/>
                <a:gd name="T47" fmla="*/ 63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7" y="37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7"/>
                    <a:pt x="51" y="50"/>
                    <a:pt x="46" y="64"/>
                  </a:cubicBezTo>
                  <a:cubicBezTo>
                    <a:pt x="44" y="70"/>
                    <a:pt x="40" y="73"/>
                    <a:pt x="32" y="73"/>
                  </a:cubicBezTo>
                  <a:cubicBezTo>
                    <a:pt x="25" y="72"/>
                    <a:pt x="21" y="69"/>
                    <a:pt x="19" y="63"/>
                  </a:cubicBezTo>
                  <a:cubicBezTo>
                    <a:pt x="13" y="47"/>
                    <a:pt x="8" y="30"/>
                    <a:pt x="2" y="14"/>
                  </a:cubicBezTo>
                  <a:cubicBezTo>
                    <a:pt x="0" y="8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8"/>
                    <a:pt x="28" y="30"/>
                    <a:pt x="31" y="41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7" y="11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69" y="1"/>
                    <a:pt x="73" y="4"/>
                    <a:pt x="76" y="11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9"/>
                    <a:pt x="90" y="49"/>
                  </a:cubicBezTo>
                  <a:cubicBezTo>
                    <a:pt x="90" y="48"/>
                    <a:pt x="90" y="48"/>
                    <a:pt x="90" y="47"/>
                  </a:cubicBezTo>
                  <a:cubicBezTo>
                    <a:pt x="94" y="35"/>
                    <a:pt x="97" y="23"/>
                    <a:pt x="101" y="10"/>
                  </a:cubicBezTo>
                  <a:cubicBezTo>
                    <a:pt x="103" y="3"/>
                    <a:pt x="106" y="1"/>
                    <a:pt x="113" y="1"/>
                  </a:cubicBezTo>
                  <a:cubicBezTo>
                    <a:pt x="121" y="2"/>
                    <a:pt x="124" y="6"/>
                    <a:pt x="121" y="13"/>
                  </a:cubicBezTo>
                  <a:cubicBezTo>
                    <a:pt x="116" y="30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xmlns="" id="{CFB7063B-0DFA-4BB9-957F-7F068926E5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6838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7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6 h 73"/>
                <a:gd name="T22" fmla="*/ 31 w 124"/>
                <a:gd name="T23" fmla="*/ 40 h 73"/>
                <a:gd name="T24" fmla="*/ 33 w 124"/>
                <a:gd name="T25" fmla="*/ 48 h 73"/>
                <a:gd name="T26" fmla="*/ 34 w 124"/>
                <a:gd name="T27" fmla="*/ 49 h 73"/>
                <a:gd name="T28" fmla="*/ 35 w 124"/>
                <a:gd name="T29" fmla="*/ 48 h 73"/>
                <a:gd name="T30" fmla="*/ 47 w 124"/>
                <a:gd name="T31" fmla="*/ 12 h 73"/>
                <a:gd name="T32" fmla="*/ 62 w 124"/>
                <a:gd name="T33" fmla="*/ 1 h 73"/>
                <a:gd name="T34" fmla="*/ 76 w 124"/>
                <a:gd name="T35" fmla="*/ 12 h 73"/>
                <a:gd name="T36" fmla="*/ 89 w 124"/>
                <a:gd name="T37" fmla="*/ 48 h 73"/>
                <a:gd name="T38" fmla="*/ 90 w 124"/>
                <a:gd name="T39" fmla="*/ 49 h 73"/>
                <a:gd name="T40" fmla="*/ 90 w 124"/>
                <a:gd name="T41" fmla="*/ 48 h 73"/>
                <a:gd name="T42" fmla="*/ 101 w 124"/>
                <a:gd name="T43" fmla="*/ 10 h 73"/>
                <a:gd name="T44" fmla="*/ 112 w 124"/>
                <a:gd name="T45" fmla="*/ 1 h 73"/>
                <a:gd name="T46" fmla="*/ 121 w 124"/>
                <a:gd name="T47" fmla="*/ 14 h 73"/>
                <a:gd name="T48" fmla="*/ 104 w 124"/>
                <a:gd name="T49" fmla="*/ 63 h 73"/>
                <a:gd name="T50" fmla="*/ 90 w 124"/>
                <a:gd name="T51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3" y="22"/>
                    <a:pt x="62" y="22"/>
                    <a:pt x="62" y="21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56" y="36"/>
                    <a:pt x="52" y="50"/>
                    <a:pt x="47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9"/>
                    <a:pt x="0" y="5"/>
                    <a:pt x="6" y="2"/>
                  </a:cubicBezTo>
                  <a:cubicBezTo>
                    <a:pt x="12" y="0"/>
                    <a:pt x="19" y="1"/>
                    <a:pt x="21" y="6"/>
                  </a:cubicBezTo>
                  <a:cubicBezTo>
                    <a:pt x="25" y="17"/>
                    <a:pt x="28" y="29"/>
                    <a:pt x="31" y="40"/>
                  </a:cubicBezTo>
                  <a:cubicBezTo>
                    <a:pt x="32" y="42"/>
                    <a:pt x="33" y="45"/>
                    <a:pt x="33" y="48"/>
                  </a:cubicBezTo>
                  <a:cubicBezTo>
                    <a:pt x="33" y="48"/>
                    <a:pt x="34" y="49"/>
                    <a:pt x="34" y="49"/>
                  </a:cubicBezTo>
                  <a:cubicBezTo>
                    <a:pt x="34" y="49"/>
                    <a:pt x="34" y="48"/>
                    <a:pt x="35" y="48"/>
                  </a:cubicBezTo>
                  <a:cubicBezTo>
                    <a:pt x="39" y="36"/>
                    <a:pt x="43" y="24"/>
                    <a:pt x="47" y="12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70" y="1"/>
                    <a:pt x="73" y="4"/>
                    <a:pt x="76" y="12"/>
                  </a:cubicBezTo>
                  <a:cubicBezTo>
                    <a:pt x="81" y="23"/>
                    <a:pt x="85" y="36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94" y="35"/>
                    <a:pt x="98" y="23"/>
                    <a:pt x="101" y="10"/>
                  </a:cubicBezTo>
                  <a:cubicBezTo>
                    <a:pt x="103" y="5"/>
                    <a:pt x="106" y="2"/>
                    <a:pt x="112" y="1"/>
                  </a:cubicBezTo>
                  <a:cubicBezTo>
                    <a:pt x="121" y="1"/>
                    <a:pt x="124" y="6"/>
                    <a:pt x="121" y="14"/>
                  </a:cubicBezTo>
                  <a:cubicBezTo>
                    <a:pt x="116" y="31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xmlns="" id="{131A025F-51C1-46B8-8513-E958EFF869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1188" y="952500"/>
              <a:ext cx="615950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4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2 h 73"/>
                <a:gd name="T24" fmla="*/ 34 w 124"/>
                <a:gd name="T25" fmla="*/ 49 h 73"/>
                <a:gd name="T26" fmla="*/ 37 w 124"/>
                <a:gd name="T27" fmla="*/ 42 h 73"/>
                <a:gd name="T28" fmla="*/ 48 w 124"/>
                <a:gd name="T29" fmla="*/ 10 h 73"/>
                <a:gd name="T30" fmla="*/ 62 w 124"/>
                <a:gd name="T31" fmla="*/ 1 h 73"/>
                <a:gd name="T32" fmla="*/ 76 w 124"/>
                <a:gd name="T33" fmla="*/ 10 h 73"/>
                <a:gd name="T34" fmla="*/ 89 w 124"/>
                <a:gd name="T35" fmla="*/ 47 h 73"/>
                <a:gd name="T36" fmla="*/ 90 w 124"/>
                <a:gd name="T37" fmla="*/ 49 h 73"/>
                <a:gd name="T38" fmla="*/ 91 w 124"/>
                <a:gd name="T39" fmla="*/ 47 h 73"/>
                <a:gd name="T40" fmla="*/ 101 w 124"/>
                <a:gd name="T41" fmla="*/ 10 h 73"/>
                <a:gd name="T42" fmla="*/ 116 w 124"/>
                <a:gd name="T43" fmla="*/ 2 h 73"/>
                <a:gd name="T44" fmla="*/ 122 w 124"/>
                <a:gd name="T45" fmla="*/ 12 h 73"/>
                <a:gd name="T46" fmla="*/ 104 w 124"/>
                <a:gd name="T47" fmla="*/ 65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4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6"/>
                    <a:pt x="51" y="50"/>
                    <a:pt x="46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7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9"/>
                    <a:pt x="28" y="30"/>
                    <a:pt x="31" y="42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8" y="10"/>
                  </a:cubicBezTo>
                  <a:cubicBezTo>
                    <a:pt x="50" y="3"/>
                    <a:pt x="55" y="1"/>
                    <a:pt x="62" y="1"/>
                  </a:cubicBezTo>
                  <a:cubicBezTo>
                    <a:pt x="69" y="1"/>
                    <a:pt x="73" y="4"/>
                    <a:pt x="76" y="10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8"/>
                    <a:pt x="90" y="48"/>
                    <a:pt x="91" y="47"/>
                  </a:cubicBezTo>
                  <a:cubicBezTo>
                    <a:pt x="94" y="35"/>
                    <a:pt x="98" y="22"/>
                    <a:pt x="101" y="10"/>
                  </a:cubicBezTo>
                  <a:cubicBezTo>
                    <a:pt x="103" y="3"/>
                    <a:pt x="108" y="0"/>
                    <a:pt x="116" y="2"/>
                  </a:cubicBezTo>
                  <a:cubicBezTo>
                    <a:pt x="121" y="3"/>
                    <a:pt x="124" y="7"/>
                    <a:pt x="122" y="12"/>
                  </a:cubicBezTo>
                  <a:cubicBezTo>
                    <a:pt x="116" y="30"/>
                    <a:pt x="110" y="47"/>
                    <a:pt x="104" y="65"/>
                  </a:cubicBezTo>
                  <a:cubicBezTo>
                    <a:pt x="101" y="71"/>
                    <a:pt x="97" y="73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</p:grpSp>
      <p:sp>
        <p:nvSpPr>
          <p:cNvPr id="51" name="TextBox 7">
            <a:extLst>
              <a:ext uri="{FF2B5EF4-FFF2-40B4-BE49-F238E27FC236}">
                <a16:creationId xmlns:a16="http://schemas.microsoft.com/office/drawing/2014/main" xmlns="" id="{D24B1108-EDD6-417B-A36D-F3867011F0AB}"/>
              </a:ext>
            </a:extLst>
          </p:cNvPr>
          <p:cNvSpPr txBox="1"/>
          <p:nvPr userDrawn="1"/>
        </p:nvSpPr>
        <p:spPr bwMode="gray">
          <a:xfrm>
            <a:off x="2622199" y="5403597"/>
            <a:ext cx="1773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twitter.com/giz_gmbh</a:t>
            </a:r>
          </a:p>
        </p:txBody>
      </p:sp>
      <p:sp>
        <p:nvSpPr>
          <p:cNvPr id="52" name="TextBox 7">
            <a:extLst>
              <a:ext uri="{FF2B5EF4-FFF2-40B4-BE49-F238E27FC236}">
                <a16:creationId xmlns:a16="http://schemas.microsoft.com/office/drawing/2014/main" xmlns="" id="{D1A27A20-93C4-43EC-9799-1798AF93C848}"/>
              </a:ext>
            </a:extLst>
          </p:cNvPr>
          <p:cNvSpPr txBox="1"/>
          <p:nvPr userDrawn="1"/>
        </p:nvSpPr>
        <p:spPr bwMode="gray">
          <a:xfrm>
            <a:off x="5253681" y="5403597"/>
            <a:ext cx="22557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www.facebook.com/gizprofile/</a:t>
            </a:r>
          </a:p>
        </p:txBody>
      </p:sp>
    </p:spTree>
    <p:extLst>
      <p:ext uri="{BB962C8B-B14F-4D97-AF65-F5344CB8AC3E}">
        <p14:creationId xmlns:p14="http://schemas.microsoft.com/office/powerpoint/2010/main" val="3000256749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37603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6" name="Key Visual">
            <a:extLst>
              <a:ext uri="{FF2B5EF4-FFF2-40B4-BE49-F238E27FC236}">
                <a16:creationId xmlns:a16="http://schemas.microsoft.com/office/drawing/2014/main" xmlns="" id="{77156747-85E7-4ED4-B2ED-42ABA70FA613}"/>
              </a:ext>
            </a:extLst>
          </p:cNvPr>
          <p:cNvGrpSpPr/>
          <p:nvPr userDrawn="1"/>
        </p:nvGrpSpPr>
        <p:grpSpPr bwMode="gray">
          <a:xfrm flipV="1">
            <a:off x="123135" y="5311118"/>
            <a:ext cx="2320828" cy="822639"/>
            <a:chOff x="4846637" y="119557"/>
            <a:chExt cx="3783013" cy="1005693"/>
          </a:xfrm>
        </p:grpSpPr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xmlns="" id="{2E6C23C4-9083-4866-858D-0C04644D965B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xmlns="" id="{FB0BB156-07F2-4B83-B5A7-E91DE0017F5B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xmlns="" id="{86502DB2-D1D5-44BB-955E-FA20933B0C5A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xmlns="" id="{A25DFF6E-FE1D-49A8-A873-770951547FF1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xmlns="" id="{8E38456C-C414-4CEB-A953-0F72775B0C8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015600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ress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790F769E-F4C9-44EF-9773-070A28E48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007487" y="431340"/>
            <a:ext cx="4324497" cy="430887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nweistext für Impressum: 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tzhaltertexte (Projekt-/Programmname, Anschrift, E-Mail etc.) bitte nach Bedarf anpassen/löschen. 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öschen Sie den Platzhalter für das logo des Kooperationspartners falls nicht passend.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Dieser Hinweis ist im Präsentationsmodus nicht sichtbar und wird auch nicht ausgedruckt.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xmlns="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xmlns="" id="{8EF3C373-F3E5-423E-B3C3-C5E1BD203F77}"/>
              </a:ext>
            </a:extLst>
          </p:cNvPr>
          <p:cNvSpPr/>
          <p:nvPr userDrawn="1"/>
        </p:nvSpPr>
        <p:spPr bwMode="gray">
          <a:xfrm>
            <a:off x="450496" y="1475896"/>
            <a:ext cx="3214511" cy="1277273"/>
          </a:xfrm>
          <a:prstGeom prst="rect">
            <a:avLst/>
          </a:prstGeom>
        </p:spPr>
        <p:txBody>
          <a:bodyPr wrap="square" lIns="0" tIns="0">
            <a:spAutoFit/>
          </a:bodyPr>
          <a:lstStyle/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Als Bundesunternehmen unterstützt die GIZ </a:t>
            </a:r>
            <a:br>
              <a:rPr lang="de-DE" sz="800" kern="0" dirty="0">
                <a:solidFill>
                  <a:prstClr val="black"/>
                </a:solidFill>
              </a:rPr>
            </a:br>
            <a:r>
              <a:rPr lang="de-DE" sz="800" kern="0" dirty="0">
                <a:solidFill>
                  <a:prstClr val="black"/>
                </a:solidFill>
              </a:rPr>
              <a:t>die deutsche Bundesregierung bei der Erreichung ihrer Ziele </a:t>
            </a:r>
            <a:br>
              <a:rPr lang="de-DE" sz="800" kern="0" dirty="0">
                <a:solidFill>
                  <a:prstClr val="black"/>
                </a:solidFill>
              </a:rPr>
            </a:br>
            <a:r>
              <a:rPr lang="de-DE" sz="800" kern="0" dirty="0">
                <a:solidFill>
                  <a:prstClr val="black"/>
                </a:solidFill>
              </a:rPr>
              <a:t>in der Internationalen Zusammenarbeit für nachhaltige Entwicklung.</a:t>
            </a:r>
          </a:p>
          <a:p>
            <a:pPr>
              <a:defRPr/>
            </a:pPr>
            <a:endParaRPr lang="de-DE" sz="8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800" b="1" kern="0" dirty="0">
                <a:solidFill>
                  <a:prstClr val="black"/>
                </a:solidFill>
              </a:rPr>
              <a:t>Herausgeber: </a:t>
            </a: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Deutsche Gesellschaft für </a:t>
            </a: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Internationale Zusammenarbeit (GIZ) GmbH</a:t>
            </a:r>
          </a:p>
          <a:p>
            <a:pPr>
              <a:defRPr/>
            </a:pPr>
            <a:endParaRPr lang="de-DE" sz="8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Sitz der Gesellschaft </a:t>
            </a: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Bonn und Eschborn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24969EDD-4A06-4BE9-93A1-41E56B0411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50495" y="3397146"/>
            <a:ext cx="3464422" cy="2350191"/>
          </a:xfrm>
        </p:spPr>
        <p:txBody>
          <a:bodyPr/>
          <a:lstStyle>
            <a:lvl1pPr>
              <a:lnSpc>
                <a:spcPct val="100000"/>
              </a:lnSpc>
              <a:defRPr kumimoji="0" lang="de-DE" sz="8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>
              <a:buNone/>
              <a:def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>
              <a:defRPr kumimoji="0" lang="de-DE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xmlns="" id="{CF011E25-18E3-408D-87A2-25C927E6CD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4386539" y="1475896"/>
            <a:ext cx="3428177" cy="2494321"/>
          </a:xfrm>
        </p:spPr>
        <p:txBody>
          <a:bodyPr/>
          <a:lstStyle>
            <a:lvl1pPr>
              <a:lnSpc>
                <a:spcPct val="100000"/>
              </a:lnSpc>
              <a:defRPr kumimoji="0" lang="de-DE" sz="8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buNone/>
              <a:def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>
              <a:defRPr kumimoji="0" lang="de-DE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itel 4">
            <a:extLst>
              <a:ext uri="{FF2B5EF4-FFF2-40B4-BE49-F238E27FC236}">
                <a16:creationId xmlns:a16="http://schemas.microsoft.com/office/drawing/2014/main" xmlns="" id="{25948279-B0DD-4569-9447-FFB1B6C1C35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9818" y="320283"/>
            <a:ext cx="6765371" cy="720725"/>
          </a:xfrm>
          <a:prstGeom prst="rect">
            <a:avLst/>
          </a:prstGeom>
        </p:spPr>
        <p:txBody>
          <a:bodyPr vert="horz" lIns="0" tIns="0" rIns="72000" bIns="0" rtlCol="0" anchor="b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prstClr val="black"/>
                </a:solidFill>
              </a:rPr>
              <a:t>Impressum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xmlns="" id="{0D9D2269-B68A-4FB7-81ED-4D5317C4B88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6263" y="4276011"/>
            <a:ext cx="2278856" cy="147733"/>
          </a:xfrm>
        </p:spPr>
        <p:txBody>
          <a:bodyPr wrap="none" lIns="0">
            <a:noAutofit/>
          </a:bodyPr>
          <a:lstStyle>
            <a:lvl1pPr>
              <a:defRPr lang="de-DE" sz="800" smtClean="0">
                <a:solidFill>
                  <a:prstClr val="black"/>
                </a:solidFill>
              </a:defRPr>
            </a:lvl1pPr>
            <a:lvl2pPr>
              <a:defRPr lang="de-DE" sz="1350" smtClean="0"/>
            </a:lvl2pPr>
            <a:lvl3pPr>
              <a:defRPr lang="de-DE" sz="1350" smtClean="0"/>
            </a:lvl3pPr>
            <a:lvl4pPr>
              <a:defRPr lang="de-DE" smtClean="0"/>
            </a:lvl4pPr>
            <a:lvl5pPr>
              <a:defRPr lang="fr-FR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567569911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nachweise und Que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24969EDD-4A06-4BE9-93A1-41E56B0411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50495" y="1475895"/>
            <a:ext cx="7172684" cy="4626708"/>
          </a:xfrm>
        </p:spPr>
        <p:txBody>
          <a:bodyPr numCol="2"/>
          <a:lstStyle>
            <a:lvl1pPr>
              <a:lnSpc>
                <a:spcPct val="100000"/>
              </a:lnSpc>
              <a:spcBef>
                <a:spcPts val="0"/>
              </a:spcBef>
              <a:defRPr kumimoji="0" lang="de-DE" sz="8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>
              <a:buNone/>
              <a:def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>
              <a:defRPr kumimoji="0" lang="de-DE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1BCACD76-7CB8-457E-9434-C57DB9E23AA9}"/>
              </a:ext>
            </a:extLst>
          </p:cNvPr>
          <p:cNvSpPr/>
          <p:nvPr userDrawn="1"/>
        </p:nvSpPr>
        <p:spPr bwMode="gray">
          <a:xfrm>
            <a:off x="777712" y="6535917"/>
            <a:ext cx="1084083" cy="213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 dirty="0" err="1">
              <a:solidFill>
                <a:prstClr val="white"/>
              </a:solidFill>
            </a:endParaRPr>
          </a:p>
        </p:txBody>
      </p:sp>
      <p:sp>
        <p:nvSpPr>
          <p:cNvPr id="12" name="Titel 4">
            <a:extLst>
              <a:ext uri="{FF2B5EF4-FFF2-40B4-BE49-F238E27FC236}">
                <a16:creationId xmlns:a16="http://schemas.microsoft.com/office/drawing/2014/main" xmlns="" id="{7C271A97-CC1D-481E-9972-CE4AD69C28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9818" y="320283"/>
            <a:ext cx="6765371" cy="720725"/>
          </a:xfrm>
          <a:prstGeom prst="rect">
            <a:avLst/>
          </a:prstGeom>
        </p:spPr>
        <p:txBody>
          <a:bodyPr vert="horz" lIns="0" tIns="0" rIns="72000" bIns="0" rtlCol="0" anchor="b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prstClr val="black"/>
                </a:solidFill>
              </a:rPr>
              <a:t>Fotonachweise / Quellen</a:t>
            </a:r>
          </a:p>
        </p:txBody>
      </p:sp>
    </p:spTree>
    <p:extLst>
      <p:ext uri="{BB962C8B-B14F-4D97-AF65-F5344CB8AC3E}">
        <p14:creationId xmlns:p14="http://schemas.microsoft.com/office/powerpoint/2010/main" val="1179121703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 descr="Ein Bild, das Kette enthält.&#10;&#10;Automatisch generierte Beschreibung">
            <a:extLst>
              <a:ext uri="{FF2B5EF4-FFF2-40B4-BE49-F238E27FC236}">
                <a16:creationId xmlns:a16="http://schemas.microsoft.com/office/drawing/2014/main" xmlns="" id="{D27820A7-D571-4E28-A8CF-ADB17402AE97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3" b="15579"/>
          <a:stretch/>
        </p:blipFill>
        <p:spPr bwMode="gray">
          <a:xfrm>
            <a:off x="123136" y="165101"/>
            <a:ext cx="8893865" cy="5444047"/>
          </a:xfrm>
          <a:prstGeom prst="rect">
            <a:avLst/>
          </a:prstGeom>
        </p:spPr>
      </p:pic>
      <p:pic>
        <p:nvPicPr>
          <p:cNvPr id="12" name="Grafik 11" descr="Ein Bild, das Säge enthält.&#10;&#10;Automatisch generierte Beschreibung">
            <a:extLst>
              <a:ext uri="{FF2B5EF4-FFF2-40B4-BE49-F238E27FC236}">
                <a16:creationId xmlns:a16="http://schemas.microsoft.com/office/drawing/2014/main" xmlns="" id="{D33A00EE-9ACF-4636-BD82-6CF5E7FCB9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856567"/>
            <a:ext cx="8895600" cy="5214544"/>
          </a:xfrm>
          <a:prstGeom prst="rect">
            <a:avLst/>
          </a:prstGeom>
        </p:spPr>
      </p:pic>
      <p:sp>
        <p:nvSpPr>
          <p:cNvPr id="14" name="Bar">
            <a:extLst>
              <a:ext uri="{FF2B5EF4-FFF2-40B4-BE49-F238E27FC236}">
                <a16:creationId xmlns:a16="http://schemas.microsoft.com/office/drawing/2014/main" xmlns="" id="{CAE61038-067C-47CF-8DDC-5ED6CDAC4AEE}"/>
              </a:ext>
            </a:extLst>
          </p:cNvPr>
          <p:cNvSpPr/>
          <p:nvPr userDrawn="1"/>
        </p:nvSpPr>
        <p:spPr bwMode="gray">
          <a:xfrm>
            <a:off x="6611815" y="5609147"/>
            <a:ext cx="2405185" cy="19590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xmlns="" id="{4950B203-064F-443F-94A9-C002DAAE8F83}"/>
              </a:ext>
            </a:extLst>
          </p:cNvPr>
          <p:cNvSpPr/>
          <p:nvPr userDrawn="1"/>
        </p:nvSpPr>
        <p:spPr bwMode="gray">
          <a:xfrm>
            <a:off x="1215592" y="2077320"/>
            <a:ext cx="3529299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100" b="1" kern="0" dirty="0">
                <a:solidFill>
                  <a:prstClr val="black"/>
                </a:solidFill>
              </a:rPr>
              <a:t>Deutsche Gesellschaft für</a:t>
            </a:r>
            <a:br>
              <a:rPr lang="de-DE" sz="1100" b="1" kern="0" dirty="0">
                <a:solidFill>
                  <a:prstClr val="black"/>
                </a:solidFill>
              </a:rPr>
            </a:br>
            <a:r>
              <a:rPr lang="de-DE" sz="1100" b="1" kern="0" dirty="0">
                <a:solidFill>
                  <a:prstClr val="black"/>
                </a:solidFill>
              </a:rPr>
              <a:t>Internationale Zusammenarbeit (GIZ) GmbH</a:t>
            </a:r>
          </a:p>
          <a:p>
            <a:pPr>
              <a:defRPr/>
            </a:pPr>
            <a:endParaRPr lang="de-DE" sz="1100" b="1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Sitz der Gesellschaft 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Bonn und Eschborn</a:t>
            </a:r>
          </a:p>
          <a:p>
            <a:pPr>
              <a:defRPr/>
            </a:pPr>
            <a:endParaRPr lang="de-DE" sz="11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Friedrich-Ebert-Allee 36 + 40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53113 Bonn, Deutschland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T  +49  228  44 60 - 0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F  +49  228  44 60 - 17 66</a:t>
            </a:r>
          </a:p>
          <a:p>
            <a:pPr>
              <a:defRPr/>
            </a:pPr>
            <a:endParaRPr lang="de-DE" sz="11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E  info@giz.de</a:t>
            </a: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I   </a:t>
            </a:r>
            <a:r>
              <a:rPr lang="de-DE" sz="400" kern="0" dirty="0">
                <a:solidFill>
                  <a:prstClr val="black"/>
                </a:solidFill>
              </a:rPr>
              <a:t> </a:t>
            </a:r>
            <a:r>
              <a:rPr lang="de-DE" sz="1100" kern="0" dirty="0">
                <a:solidFill>
                  <a:prstClr val="black"/>
                </a:solidFill>
              </a:rPr>
              <a:t>www.giz.d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xmlns="" id="{37982854-A844-4D46-9BB7-0890F958ED69}"/>
              </a:ext>
            </a:extLst>
          </p:cNvPr>
          <p:cNvSpPr/>
          <p:nvPr userDrawn="1"/>
        </p:nvSpPr>
        <p:spPr bwMode="gray">
          <a:xfrm>
            <a:off x="3525439" y="3413819"/>
            <a:ext cx="322103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Dag-</a:t>
            </a:r>
            <a:r>
              <a:rPr lang="de-DE" sz="1100" kern="0" dirty="0" err="1">
                <a:solidFill>
                  <a:prstClr val="black"/>
                </a:solidFill>
              </a:rPr>
              <a:t>Hammarskjöld</a:t>
            </a:r>
            <a:r>
              <a:rPr lang="de-DE" sz="1100" kern="0" dirty="0">
                <a:solidFill>
                  <a:prstClr val="black"/>
                </a:solidFill>
              </a:rPr>
              <a:t>-Weg 1 - 5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65760 Eschborn, Deutschland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T  +49  61 96  79 - 0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F  +49  61 96  79 - 11 15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xmlns="" id="{89CFF6E4-F492-44F6-997D-92E15F612E2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276665" y="5929845"/>
            <a:ext cx="1650218" cy="60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310940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53702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23869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26518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5707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="" xmlns:a16="http://schemas.microsoft.com/office/drawing/2014/main" id="{F0E6115A-0138-4831-8CBC-F3B86D466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4660625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66838810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1487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47143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42319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9005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53849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07200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50624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="" xmlns:a16="http://schemas.microsoft.com/office/drawing/2014/main" id="{F0E6115A-0138-4831-8CBC-F3B86D466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4660625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27557670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93298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7266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6" name="Key Visual">
            <a:extLst>
              <a:ext uri="{FF2B5EF4-FFF2-40B4-BE49-F238E27FC236}">
                <a16:creationId xmlns="" xmlns:a16="http://schemas.microsoft.com/office/drawing/2014/main" id="{77156747-85E7-4ED4-B2ED-42ABA70FA613}"/>
              </a:ext>
            </a:extLst>
          </p:cNvPr>
          <p:cNvGrpSpPr/>
          <p:nvPr userDrawn="1"/>
        </p:nvGrpSpPr>
        <p:grpSpPr bwMode="gray">
          <a:xfrm flipV="1">
            <a:off x="123135" y="5311119"/>
            <a:ext cx="2320828" cy="822639"/>
            <a:chOff x="4846637" y="119557"/>
            <a:chExt cx="3783013" cy="1005693"/>
          </a:xfrm>
        </p:grpSpPr>
        <p:sp>
          <p:nvSpPr>
            <p:cNvPr id="7" name="Freihandform: Form 6">
              <a:extLst>
                <a:ext uri="{FF2B5EF4-FFF2-40B4-BE49-F238E27FC236}">
                  <a16:creationId xmlns="" xmlns:a16="http://schemas.microsoft.com/office/drawing/2014/main" id="{2E6C23C4-9083-4866-858D-0C04644D965B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="" xmlns:a16="http://schemas.microsoft.com/office/drawing/2014/main" id="{FB0BB156-07F2-4B83-B5A7-E91DE0017F5B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="" xmlns:a16="http://schemas.microsoft.com/office/drawing/2014/main" id="{86502DB2-D1D5-44BB-955E-FA20933B0C5A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="" xmlns:a16="http://schemas.microsoft.com/office/drawing/2014/main" id="{A25DFF6E-FE1D-49A8-A873-770951547FF1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8E38456C-C414-4CEB-A953-0F72775B0C8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platzhalter 7">
            <a:extLst>
              <a:ext uri="{FF2B5EF4-FFF2-40B4-BE49-F238E27FC236}">
                <a16:creationId xmlns="" xmlns:a16="http://schemas.microsoft.com/office/drawing/2014/main" id="{32E1886A-3475-4E66-B3BF-1AD48A203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3746844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53908000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21696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42129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51631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62604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91221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64970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05687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71382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10585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208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folie s/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="" xmlns:a16="http://schemas.microsoft.com/office/drawing/2014/main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8" y="165101"/>
            <a:ext cx="8893865" cy="5968659"/>
          </a:xfrm>
          <a:prstGeom prst="rect">
            <a:avLst/>
          </a:prstGeom>
        </p:spPr>
      </p:pic>
      <p:pic>
        <p:nvPicPr>
          <p:cNvPr id="20" name="Grafik 19" descr="Ein Bild, das Säge enthält.&#10;&#10;Automatisch generierte Beschreibung">
            <a:extLst>
              <a:ext uri="{FF2B5EF4-FFF2-40B4-BE49-F238E27FC236}">
                <a16:creationId xmlns="" xmlns:a16="http://schemas.microsoft.com/office/drawing/2014/main" id="{BCF144E3-F322-4496-87EE-8035011D1A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2093675"/>
            <a:ext cx="8895600" cy="4040085"/>
          </a:xfrm>
          <a:prstGeom prst="rect">
            <a:avLst/>
          </a:prstGeom>
        </p:spPr>
      </p:pic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4938865"/>
            <a:ext cx="7970837" cy="219291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51" y="4033217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- Startfolie</a:t>
            </a:r>
            <a:br>
              <a:rPr lang="de-DE" dirty="0"/>
            </a:br>
            <a:r>
              <a:rPr lang="de-DE" noProof="0" dirty="0"/>
              <a:t>mit s/w GIZ Key Visual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158957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3665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82552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37091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1080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96629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18372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87790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46855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94765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3364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folie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44D13A53-E295-469E-858E-7B58C3A9BD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0723"/>
          <a:stretch/>
        </p:blipFill>
        <p:spPr>
          <a:xfrm>
            <a:off x="7500969" y="1136802"/>
            <a:ext cx="465722" cy="751359"/>
          </a:xfrm>
          <a:prstGeom prst="rect">
            <a:avLst/>
          </a:prstGeom>
        </p:spPr>
      </p:pic>
      <p:pic>
        <p:nvPicPr>
          <p:cNvPr id="31" name="Grafik 30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039598BE-791E-4D95-98E2-387FD9AFFE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589808" y="1136802"/>
            <a:ext cx="1584898" cy="751359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="" xmlns:a16="http://schemas.microsoft.com/office/drawing/2014/main" id="{15D7DBD6-6353-423F-8FD4-C16E2BBCE1B4}"/>
              </a:ext>
            </a:extLst>
          </p:cNvPr>
          <p:cNvSpPr/>
          <p:nvPr userDrawn="1"/>
        </p:nvSpPr>
        <p:spPr bwMode="gray">
          <a:xfrm>
            <a:off x="6550858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3" name="Rechteck">
            <a:extLst>
              <a:ext uri="{FF2B5EF4-FFF2-40B4-BE49-F238E27FC236}">
                <a16:creationId xmlns="" xmlns:a16="http://schemas.microsoft.com/office/drawing/2014/main" id="{ED021507-F859-4746-88F8-317706961200}"/>
              </a:ext>
            </a:extLst>
          </p:cNvPr>
          <p:cNvSpPr/>
          <p:nvPr userDrawn="1"/>
        </p:nvSpPr>
        <p:spPr bwMode="gray">
          <a:xfrm>
            <a:off x="7525347" y="1373458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3" name="Bildplatzhalter">
            <a:extLst>
              <a:ext uri="{FF2B5EF4-FFF2-40B4-BE49-F238E27FC236}">
                <a16:creationId xmlns="" xmlns:a16="http://schemas.microsoft.com/office/drawing/2014/main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8" y="165101"/>
            <a:ext cx="8893865" cy="5968659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3" name="1.">
            <a:extLst>
              <a:ext uri="{FF2B5EF4-FFF2-40B4-BE49-F238E27FC236}">
                <a16:creationId xmlns="" xmlns:a16="http://schemas.microsoft.com/office/drawing/2014/main" id="{6C4143CA-4DB1-41D8-8702-2CD00961FDB5}"/>
              </a:ext>
            </a:extLst>
          </p:cNvPr>
          <p:cNvSpPr/>
          <p:nvPr userDrawn="1"/>
        </p:nvSpPr>
        <p:spPr bwMode="gray">
          <a:xfrm>
            <a:off x="4092745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="" xmlns:a16="http://schemas.microsoft.com/office/drawing/2014/main" id="{8F222F02-A2DC-42E9-84D4-4ACEFEE70A4D}"/>
              </a:ext>
            </a:extLst>
          </p:cNvPr>
          <p:cNvSpPr/>
          <p:nvPr userDrawn="1"/>
        </p:nvSpPr>
        <p:spPr bwMode="gray">
          <a:xfrm>
            <a:off x="5501865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="" xmlns:a16="http://schemas.microsoft.com/office/drawing/2014/main" id="{C15972D1-066C-49B6-94E5-4A7A0A3B2587}"/>
              </a:ext>
            </a:extLst>
          </p:cNvPr>
          <p:cNvSpPr/>
          <p:nvPr userDrawn="1"/>
        </p:nvSpPr>
        <p:spPr bwMode="gray">
          <a:xfrm>
            <a:off x="7427972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="" xmlns:a16="http://schemas.microsoft.com/office/drawing/2014/main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how">
            <a:extLst>
              <a:ext uri="{FF2B5EF4-FFF2-40B4-BE49-F238E27FC236}">
                <a16:creationId xmlns="" xmlns:a16="http://schemas.microsoft.com/office/drawing/2014/main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9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sp>
        <p:nvSpPr>
          <p:cNvPr id="10" name="Dreieck">
            <a:extLst>
              <a:ext uri="{FF2B5EF4-FFF2-40B4-BE49-F238E27FC236}">
                <a16:creationId xmlns="" xmlns:a16="http://schemas.microsoft.com/office/drawing/2014/main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5" name="Headline">
            <a:extLst>
              <a:ext uri="{FF2B5EF4-FFF2-40B4-BE49-F238E27FC236}">
                <a16:creationId xmlns="" xmlns:a16="http://schemas.microsoft.com/office/drawing/2014/main" id="{F8646EF2-FE73-41DC-B654-C5012A372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8" y="2093675"/>
            <a:ext cx="8893865" cy="4040085"/>
          </a:xfrm>
          <a:prstGeom prst="rect">
            <a:avLst/>
          </a:prstGeom>
          <a:blipFill dpi="0" rotWithShape="1">
            <a:blip r:embed="rId4">
              <a:alphaModFix amt="80000"/>
            </a:blip>
            <a:srcRect/>
            <a:stretch>
              <a:fillRect l="-10" r="-10"/>
            </a:stretch>
          </a:blipFill>
        </p:spPr>
        <p:txBody>
          <a:bodyPr wrap="square" lIns="576000" bIns="1036800" anchor="b">
            <a:no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- Startfolie</a:t>
            </a:r>
            <a:br>
              <a:rPr lang="de-DE" dirty="0"/>
            </a:br>
            <a:r>
              <a:rPr lang="de-DE" dirty="0"/>
              <a:t>mit Hintergrundfoto (austauschbar)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="" xmlns:a16="http://schemas.microsoft.com/office/drawing/2014/main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7497025" y="1966807"/>
            <a:ext cx="1246909" cy="1147156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FDD79862-8BF3-4D14-AF58-2F22BF60427E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2CB5F56C-6422-4495-9DA4-2AF22406E26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2D7E061E-EDDF-4769-84B3-644BEC3FD70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28" name="Subline">
            <a:extLst>
              <a:ext uri="{FF2B5EF4-FFF2-40B4-BE49-F238E27FC236}">
                <a16:creationId xmlns="" xmlns:a16="http://schemas.microsoft.com/office/drawing/2014/main" id="{6699B1E5-C447-4674-92BB-C2A1F3ADCF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4938865"/>
            <a:ext cx="7970837" cy="219291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="" xmlns:a16="http://schemas.microsoft.com/office/drawing/2014/main" id="{32E200F4-77BE-447A-A909-46651560A0DE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126479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tartfoli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line">
            <a:extLst>
              <a:ext uri="{FF2B5EF4-FFF2-40B4-BE49-F238E27FC236}">
                <a16:creationId xmlns="" xmlns:a16="http://schemas.microsoft.com/office/drawing/2014/main" id="{31A5E120-96AF-40F6-98D7-8A2FD24C32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99851" y="3700613"/>
            <a:ext cx="7970837" cy="219291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Dies ist die </a:t>
            </a:r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99851" y="2782265"/>
            <a:ext cx="7971711" cy="72019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- Startfolie</a:t>
            </a:r>
            <a:br>
              <a:rPr lang="de-DE" dirty="0"/>
            </a:br>
            <a:r>
              <a:rPr lang="de-DE" dirty="0"/>
              <a:t>Diese kann auch zweizeilig sein</a:t>
            </a:r>
          </a:p>
        </p:txBody>
      </p:sp>
      <p:grpSp>
        <p:nvGrpSpPr>
          <p:cNvPr id="8" name="Key Visual">
            <a:extLst>
              <a:ext uri="{FF2B5EF4-FFF2-40B4-BE49-F238E27FC236}">
                <a16:creationId xmlns="" xmlns:a16="http://schemas.microsoft.com/office/drawing/2014/main" id="{1E0F1E1C-CA23-484C-B4BB-7C7FB71D6C86}"/>
              </a:ext>
            </a:extLst>
          </p:cNvPr>
          <p:cNvGrpSpPr/>
          <p:nvPr userDrawn="1"/>
        </p:nvGrpSpPr>
        <p:grpSpPr bwMode="gray">
          <a:xfrm>
            <a:off x="123138" y="165102"/>
            <a:ext cx="3783013" cy="1340924"/>
            <a:chOff x="4846637" y="119557"/>
            <a:chExt cx="3783013" cy="1005693"/>
          </a:xfrm>
        </p:grpSpPr>
        <p:sp>
          <p:nvSpPr>
            <p:cNvPr id="9" name="Freihandform: Form 8">
              <a:extLst>
                <a:ext uri="{FF2B5EF4-FFF2-40B4-BE49-F238E27FC236}">
                  <a16:creationId xmlns="" xmlns:a16="http://schemas.microsoft.com/office/drawing/2014/main" id="{361BEDD0-CC28-449C-8AF8-28ECB9820DCA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2AF78ACF-6170-47AC-80E0-F6021AD8B19F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="" xmlns:a16="http://schemas.microsoft.com/office/drawing/2014/main" id="{5BAE5611-256D-4234-B00F-EB779B3EA961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D32235C7-71CD-4034-844A-03FD0D112CE2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="" xmlns:a16="http://schemas.microsoft.com/office/drawing/2014/main" id="{717CA073-D9FE-4EFD-801F-27AB9308B312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3DA937B-815A-4937-A580-EB446EC1E29C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3879C62A-D416-4679-A185-87D192D151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344C1EF2-B6DF-42B8-821B-BF76B5E14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62376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s/w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="" xmlns:a16="http://schemas.microsoft.com/office/drawing/2014/main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8" y="165101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="" xmlns:a16="http://schemas.microsoft.com/office/drawing/2014/main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8" y="165101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5699" y="2800616"/>
            <a:ext cx="7472602" cy="38010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95000"/>
              </a:lnSpc>
              <a:spcBef>
                <a:spcPts val="1200"/>
              </a:spcBef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Zwischenfoli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09175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5699" y="2800616"/>
            <a:ext cx="7472602" cy="38010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95000"/>
              </a:lnSpc>
              <a:spcBef>
                <a:spcPts val="1200"/>
              </a:spcBef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Zwischenfoli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3234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weiß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eadline">
            <a:extLst>
              <a:ext uri="{FF2B5EF4-FFF2-40B4-BE49-F238E27FC236}">
                <a16:creationId xmlns="" xmlns:a16="http://schemas.microsoft.com/office/drawing/2014/main" id="{4ECCE95F-3D45-442B-95A6-78CBB31D3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5699" y="2800616"/>
            <a:ext cx="7472602" cy="38010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95000"/>
              </a:lnSpc>
              <a:spcBef>
                <a:spcPts val="1200"/>
              </a:spcBef>
              <a:defRPr sz="2600" b="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Zwischenfolie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12" name="Key Visual">
            <a:extLst>
              <a:ext uri="{FF2B5EF4-FFF2-40B4-BE49-F238E27FC236}">
                <a16:creationId xmlns="" xmlns:a16="http://schemas.microsoft.com/office/drawing/2014/main" id="{D9D8699C-EAEE-4654-9DB5-5DBEA94DFD69}"/>
              </a:ext>
            </a:extLst>
          </p:cNvPr>
          <p:cNvGrpSpPr/>
          <p:nvPr userDrawn="1"/>
        </p:nvGrpSpPr>
        <p:grpSpPr bwMode="gray">
          <a:xfrm flipV="1">
            <a:off x="123137" y="4525211"/>
            <a:ext cx="4538033" cy="1608548"/>
            <a:chOff x="4846637" y="119557"/>
            <a:chExt cx="3783013" cy="1005693"/>
          </a:xfrm>
        </p:grpSpPr>
        <p:sp>
          <p:nvSpPr>
            <p:cNvPr id="13" name="Freihandform: Form 12">
              <a:extLst>
                <a:ext uri="{FF2B5EF4-FFF2-40B4-BE49-F238E27FC236}">
                  <a16:creationId xmlns="" xmlns:a16="http://schemas.microsoft.com/office/drawing/2014/main" id="{57ACA972-95E7-4330-A959-68C656E58B90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EF93F907-303A-4592-848E-F1A7AFDDDD4A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="" xmlns:a16="http://schemas.microsoft.com/office/drawing/2014/main" id="{C8AAE6CE-CD01-4233-9E65-D495D92CF161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="" xmlns:a16="http://schemas.microsoft.com/office/drawing/2014/main" id="{1AAC9A52-2206-4D16-A752-9C733CC5CB7F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="" xmlns:a16="http://schemas.microsoft.com/office/drawing/2014/main" id="{8D075FE9-0EDA-4BE2-B2C1-22DF2B8842B2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36" name="Key Visual">
            <a:extLst>
              <a:ext uri="{FF2B5EF4-FFF2-40B4-BE49-F238E27FC236}">
                <a16:creationId xmlns="" xmlns:a16="http://schemas.microsoft.com/office/drawing/2014/main" id="{C7D69FF2-A45A-405D-BC43-69B4E925551F}"/>
              </a:ext>
            </a:extLst>
          </p:cNvPr>
          <p:cNvGrpSpPr/>
          <p:nvPr userDrawn="1"/>
        </p:nvGrpSpPr>
        <p:grpSpPr bwMode="gray">
          <a:xfrm flipH="1">
            <a:off x="6701040" y="165101"/>
            <a:ext cx="2315963" cy="820915"/>
            <a:chOff x="4846637" y="119557"/>
            <a:chExt cx="3783013" cy="1005693"/>
          </a:xfrm>
        </p:grpSpPr>
        <p:sp>
          <p:nvSpPr>
            <p:cNvPr id="37" name="Freihandform: Form 36">
              <a:extLst>
                <a:ext uri="{FF2B5EF4-FFF2-40B4-BE49-F238E27FC236}">
                  <a16:creationId xmlns="" xmlns:a16="http://schemas.microsoft.com/office/drawing/2014/main" id="{67E195A5-1DB2-4051-897C-B5E84120B476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="" xmlns:a16="http://schemas.microsoft.com/office/drawing/2014/main" id="{9234AB9A-5088-479E-92C2-4F81972E1E55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="" xmlns:a16="http://schemas.microsoft.com/office/drawing/2014/main" id="{5FBB400A-FFCE-4E88-B1BF-846AC7A46F8E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="" xmlns:a16="http://schemas.microsoft.com/office/drawing/2014/main" id="{4A214495-DB26-435D-9164-4A350ECF0071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="" xmlns:a16="http://schemas.microsoft.com/office/drawing/2014/main" id="{AD46CA09-12E7-4803-A8A0-CC8821A2FBF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25799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">
            <a:extLst>
              <a:ext uri="{FF2B5EF4-FFF2-40B4-BE49-F238E27FC236}">
                <a16:creationId xmlns="" xmlns:a16="http://schemas.microsoft.com/office/drawing/2014/main" id="{670A352A-9075-4383-BC37-7EF209BB4A7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123138" y="165101"/>
            <a:ext cx="8893865" cy="5968659"/>
          </a:xfrm>
          <a:noFill/>
        </p:spPr>
        <p:txBody>
          <a:bodyPr tIns="720000" rIns="0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3" name="1.">
            <a:extLst>
              <a:ext uri="{FF2B5EF4-FFF2-40B4-BE49-F238E27FC236}">
                <a16:creationId xmlns="" xmlns:a16="http://schemas.microsoft.com/office/drawing/2014/main" id="{6C4143CA-4DB1-41D8-8702-2CD00961FDB5}"/>
              </a:ext>
            </a:extLst>
          </p:cNvPr>
          <p:cNvSpPr/>
          <p:nvPr userDrawn="1"/>
        </p:nvSpPr>
        <p:spPr bwMode="gray">
          <a:xfrm>
            <a:off x="4092745" y="170887"/>
            <a:ext cx="147637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1. Auf diese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Symbol klicken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um neues Fotos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einzufügen</a:t>
            </a:r>
          </a:p>
        </p:txBody>
      </p:sp>
      <p:sp>
        <p:nvSpPr>
          <p:cNvPr id="16" name="2.">
            <a:extLst>
              <a:ext uri="{FF2B5EF4-FFF2-40B4-BE49-F238E27FC236}">
                <a16:creationId xmlns="" xmlns:a16="http://schemas.microsoft.com/office/drawing/2014/main" id="{8F222F02-A2DC-42E9-84D4-4ACEFEE70A4D}"/>
              </a:ext>
            </a:extLst>
          </p:cNvPr>
          <p:cNvSpPr/>
          <p:nvPr userDrawn="1"/>
        </p:nvSpPr>
        <p:spPr bwMode="gray">
          <a:xfrm>
            <a:off x="5501865" y="170887"/>
            <a:ext cx="1476375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2. Folie wieder zurücksetzen</a:t>
            </a:r>
          </a:p>
        </p:txBody>
      </p:sp>
      <p:sp>
        <p:nvSpPr>
          <p:cNvPr id="23" name="3.">
            <a:extLst>
              <a:ext uri="{FF2B5EF4-FFF2-40B4-BE49-F238E27FC236}">
                <a16:creationId xmlns="" xmlns:a16="http://schemas.microsoft.com/office/drawing/2014/main" id="{C15972D1-066C-49B6-94E5-4A7A0A3B2587}"/>
              </a:ext>
            </a:extLst>
          </p:cNvPr>
          <p:cNvSpPr/>
          <p:nvPr userDrawn="1"/>
        </p:nvSpPr>
        <p:spPr bwMode="gray">
          <a:xfrm>
            <a:off x="7427972" y="170887"/>
            <a:ext cx="1697085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/>
            </a:pPr>
            <a:r>
              <a:rPr lang="de-DE" sz="1200" dirty="0">
                <a:solidFill>
                  <a:prstClr val="black"/>
                </a:solidFill>
              </a:rPr>
              <a:t>3. ggfs. mit „Zuschneiden“ den Ausschnitt verändern</a:t>
            </a:r>
            <a:br>
              <a:rPr lang="de-DE" sz="1200" dirty="0">
                <a:solidFill>
                  <a:prstClr val="black"/>
                </a:solidFill>
              </a:rPr>
            </a:br>
            <a:endParaRPr lang="de-DE" sz="120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="" xmlns:a16="http://schemas.microsoft.com/office/drawing/2014/main" id="{FE685868-EA5A-4891-A28F-04F16BEAED38}"/>
              </a:ext>
            </a:extLst>
          </p:cNvPr>
          <p:cNvCxnSpPr/>
          <p:nvPr userDrawn="1"/>
        </p:nvCxnSpPr>
        <p:spPr bwMode="gray">
          <a:xfrm>
            <a:off x="4572000" y="1244600"/>
            <a:ext cx="0" cy="914400"/>
          </a:xfrm>
          <a:prstGeom prst="straightConnector1">
            <a:avLst/>
          </a:prstGeom>
          <a:ln w="12700">
            <a:prstDash val="sysDash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how">
            <a:extLst>
              <a:ext uri="{FF2B5EF4-FFF2-40B4-BE49-F238E27FC236}">
                <a16:creationId xmlns="" xmlns:a16="http://schemas.microsoft.com/office/drawing/2014/main" id="{B4432FF7-B852-4F03-B6BA-EEC7AD563D82}"/>
              </a:ext>
            </a:extLst>
          </p:cNvPr>
          <p:cNvSpPr txBox="1"/>
          <p:nvPr userDrawn="1"/>
        </p:nvSpPr>
        <p:spPr bwMode="gray">
          <a:xfrm>
            <a:off x="-2902281" y="237069"/>
            <a:ext cx="2841162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f Bild oberhalb der Transparenz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ild mit Taste ENTF lösch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 Auf kleines Symbol in der Mitte der Seite klick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Foto auswählen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Unter „Start/Folie zurücksetzen“.</a:t>
            </a:r>
          </a:p>
          <a:p>
            <a:pPr marL="128588" indent="-128588" algn="r" defTabSz="685800">
              <a:buFontTx/>
              <a:buAutoNum type="arabicPeriod"/>
              <a:defRPr/>
            </a:pP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Bei Bedarf unter „Format/ Schneidewerkzeug“ </a:t>
            </a:r>
            <a:br>
              <a:rPr lang="de-DE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de-DE" sz="900" dirty="0">
                <a:solidFill>
                  <a:prstClr val="white">
                    <a:lumMod val="50000"/>
                  </a:prstClr>
                </a:solidFill>
              </a:rPr>
              <a:t>Ausschnitt bearbeiten.</a:t>
            </a:r>
          </a:p>
        </p:txBody>
      </p:sp>
      <p:sp>
        <p:nvSpPr>
          <p:cNvPr id="10" name="Dreieck">
            <a:extLst>
              <a:ext uri="{FF2B5EF4-FFF2-40B4-BE49-F238E27FC236}">
                <a16:creationId xmlns="" xmlns:a16="http://schemas.microsoft.com/office/drawing/2014/main" id="{22DB09A9-BCD0-4F35-8DC4-DDFE9DE6C2F9}"/>
              </a:ext>
            </a:extLst>
          </p:cNvPr>
          <p:cNvSpPr/>
          <p:nvPr userDrawn="1"/>
        </p:nvSpPr>
        <p:spPr bwMode="gray">
          <a:xfrm rot="5400000">
            <a:off x="-202090" y="569807"/>
            <a:ext cx="281941" cy="4572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15" name="Headline">
            <a:extLst>
              <a:ext uri="{FF2B5EF4-FFF2-40B4-BE49-F238E27FC236}">
                <a16:creationId xmlns="" xmlns:a16="http://schemas.microsoft.com/office/drawing/2014/main" id="{F8646EF2-FE73-41DC-B654-C5012A372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3138" y="2093675"/>
            <a:ext cx="8893865" cy="4040085"/>
          </a:xfrm>
          <a:prstGeom prst="rect">
            <a:avLst/>
          </a:prstGeom>
          <a:blipFill dpi="0" rotWithShape="1">
            <a:blip r:embed="rId2">
              <a:alphaModFix amt="80000"/>
            </a:blip>
            <a:srcRect/>
            <a:stretch>
              <a:fillRect l="-10" r="-10"/>
            </a:stretch>
          </a:blipFill>
        </p:spPr>
        <p:txBody>
          <a:bodyPr wrap="square" lIns="900000" bIns="684000" anchor="b">
            <a:no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folie mit Hintergrundfoto </a:t>
            </a:r>
            <a:br>
              <a:rPr lang="de-DE" dirty="0"/>
            </a:br>
            <a:r>
              <a:rPr lang="de-DE" dirty="0"/>
              <a:t>(austauschbar) </a:t>
            </a:r>
          </a:p>
        </p:txBody>
      </p:sp>
      <p:pic>
        <p:nvPicPr>
          <p:cNvPr id="26" name="Beispiel" descr="Ein Bild, das Wand, Gebäude enthält.&#10;&#10;Automatisch generierte Beschreibung">
            <a:extLst>
              <a:ext uri="{FF2B5EF4-FFF2-40B4-BE49-F238E27FC236}">
                <a16:creationId xmlns="" xmlns:a16="http://schemas.microsoft.com/office/drawing/2014/main" id="{317CFD46-37B5-4632-BBA4-3F2278F98B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7497025" y="1966807"/>
            <a:ext cx="1246909" cy="1147156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FDD79862-8BF3-4D14-AF58-2F22BF60427E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="" xmlns:a16="http://schemas.microsoft.com/office/drawing/2014/main" id="{2CB5F56C-6422-4495-9DA4-2AF22406E26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2D7E061E-EDDF-4769-84B3-644BEC3FD70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pic>
        <p:nvPicPr>
          <p:cNvPr id="28" name="Grafik 27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F1DBC752-EBBC-4263-9446-7AAD2ADD5B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0723"/>
          <a:stretch/>
        </p:blipFill>
        <p:spPr>
          <a:xfrm>
            <a:off x="7500969" y="1136802"/>
            <a:ext cx="465722" cy="751359"/>
          </a:xfrm>
          <a:prstGeom prst="rect">
            <a:avLst/>
          </a:prstGeom>
        </p:spPr>
      </p:pic>
      <p:pic>
        <p:nvPicPr>
          <p:cNvPr id="29" name="Grafik 28" descr="Ein Bild, das Screenshot enthält.&#10;&#10;Automatisch generierte Beschreibung">
            <a:extLst>
              <a:ext uri="{FF2B5EF4-FFF2-40B4-BE49-F238E27FC236}">
                <a16:creationId xmlns="" xmlns:a16="http://schemas.microsoft.com/office/drawing/2014/main" id="{BF7AF15A-C526-4954-8322-2AC54E413E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589808" y="1136802"/>
            <a:ext cx="1584898" cy="751359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="" xmlns:a16="http://schemas.microsoft.com/office/drawing/2014/main" id="{529302A3-2D45-4FC1-BF49-971AA95174F2}"/>
              </a:ext>
            </a:extLst>
          </p:cNvPr>
          <p:cNvSpPr/>
          <p:nvPr userDrawn="1"/>
        </p:nvSpPr>
        <p:spPr bwMode="gray">
          <a:xfrm>
            <a:off x="6550858" y="1509303"/>
            <a:ext cx="633229" cy="19132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  <p:sp>
        <p:nvSpPr>
          <p:cNvPr id="31" name="Rechteck">
            <a:extLst>
              <a:ext uri="{FF2B5EF4-FFF2-40B4-BE49-F238E27FC236}">
                <a16:creationId xmlns="" xmlns:a16="http://schemas.microsoft.com/office/drawing/2014/main" id="{59E4E17F-B8C7-48BE-82D7-2110F53F1AF1}"/>
              </a:ext>
            </a:extLst>
          </p:cNvPr>
          <p:cNvSpPr/>
          <p:nvPr userDrawn="1"/>
        </p:nvSpPr>
        <p:spPr bwMode="gray">
          <a:xfrm>
            <a:off x="7525347" y="1373458"/>
            <a:ext cx="431966" cy="450849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44994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96030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 mit 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="" xmlns:a16="http://schemas.microsoft.com/office/drawing/2014/main" id="{726EAD89-A3DC-4500-9071-F28C7DB87EC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52038"/>
            <a:ext cx="8567183" cy="36075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7" name="Textplatzhalter 2">
            <a:extLst>
              <a:ext uri="{FF2B5EF4-FFF2-40B4-BE49-F238E27FC236}">
                <a16:creationId xmlns="" xmlns:a16="http://schemas.microsoft.com/office/drawing/2014/main" id="{7BDDDF81-EBEA-4C88-AA55-681A5710CA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49266" y="774701"/>
            <a:ext cx="8567737" cy="501651"/>
          </a:xfrm>
        </p:spPr>
        <p:txBody>
          <a:bodyPr vert="horz" lIns="0" tIns="0" rIns="72000" bIns="0" rtlCol="0" anchor="t">
            <a:noAutofit/>
          </a:bodyPr>
          <a:lstStyle>
            <a:lvl1pPr>
              <a:defRPr lang="de-DE" sz="1400" b="0" cap="none" baseline="0" smtClean="0"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pPr lvl="0">
              <a:spcBef>
                <a:spcPct val="0"/>
              </a:spcBef>
            </a:pPr>
            <a:r>
              <a:rPr lang="de-DE"/>
              <a:t>Formatvorlagen des Textmasters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20" y="1361294"/>
            <a:ext cx="7172683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82898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7172684" cy="378644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20" name="Key Visual">
            <a:extLst>
              <a:ext uri="{FF2B5EF4-FFF2-40B4-BE49-F238E27FC236}">
                <a16:creationId xmlns="" xmlns:a16="http://schemas.microsoft.com/office/drawing/2014/main" id="{BCBD8A78-7D69-4DFD-B354-CF36A84705CB}"/>
              </a:ext>
            </a:extLst>
          </p:cNvPr>
          <p:cNvGrpSpPr/>
          <p:nvPr userDrawn="1"/>
        </p:nvGrpSpPr>
        <p:grpSpPr bwMode="gray">
          <a:xfrm flipV="1">
            <a:off x="123135" y="5311119"/>
            <a:ext cx="2320828" cy="822639"/>
            <a:chOff x="4846637" y="119557"/>
            <a:chExt cx="3783013" cy="1005693"/>
          </a:xfrm>
        </p:grpSpPr>
        <p:sp>
          <p:nvSpPr>
            <p:cNvPr id="21" name="Freihandform: Form 20">
              <a:extLst>
                <a:ext uri="{FF2B5EF4-FFF2-40B4-BE49-F238E27FC236}">
                  <a16:creationId xmlns="" xmlns:a16="http://schemas.microsoft.com/office/drawing/2014/main" id="{E45BEDC0-179F-43C1-A606-AFD62A6A063E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="" xmlns:a16="http://schemas.microsoft.com/office/drawing/2014/main" id="{F6CCD5CC-5505-4485-9297-BB0A34EBB2F6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="" xmlns:a16="http://schemas.microsoft.com/office/drawing/2014/main" id="{18541086-C56A-406D-91E6-D3E933CF7BA3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="" xmlns:a16="http://schemas.microsoft.com/office/drawing/2014/main" id="{1B8A9566-A588-4E4A-8143-1CBDC9C30D67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="" xmlns:a16="http://schemas.microsoft.com/office/drawing/2014/main" id="{6FDDC1A6-3462-4813-8D80-9E642D61798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404244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4122182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083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="" xmlns:a16="http://schemas.microsoft.com/office/drawing/2014/main" id="{22732D1C-05D1-4A5F-B576-23063E1D7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888468" y="1361294"/>
            <a:ext cx="4122182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37194134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28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einspal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3"/>
            <a:ext cx="4122182" cy="466062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32946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2845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1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="" xmlns:a16="http://schemas.microsoft.com/office/drawing/2014/main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7" y="167508"/>
            <a:ext cx="3490261" cy="5966593"/>
          </a:xfrm>
          <a:solidFill>
            <a:schemeClr val="bg2"/>
          </a:solidFill>
        </p:spPr>
        <p:txBody>
          <a:bodyPr tIns="1440000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1"/>
            <a:ext cx="4839634" cy="477280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="" xmlns:a16="http://schemas.microsoft.com/office/drawing/2014/main" id="{7EA27159-D449-4E61-9234-12331EF2588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4"/>
            <a:ext cx="4839634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035088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1 Foto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="" xmlns:a16="http://schemas.microsoft.com/office/drawing/2014/main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7" y="167508"/>
            <a:ext cx="3490261" cy="5966593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2"/>
            <a:ext cx="4839634" cy="379998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9" name="Key Visual">
            <a:extLst>
              <a:ext uri="{FF2B5EF4-FFF2-40B4-BE49-F238E27FC236}">
                <a16:creationId xmlns="" xmlns:a16="http://schemas.microsoft.com/office/drawing/2014/main" id="{0AED28BE-BD58-4C37-99C9-6DDD5906BC8A}"/>
              </a:ext>
            </a:extLst>
          </p:cNvPr>
          <p:cNvGrpSpPr/>
          <p:nvPr userDrawn="1"/>
        </p:nvGrpSpPr>
        <p:grpSpPr bwMode="gray">
          <a:xfrm flipV="1">
            <a:off x="123135" y="5311119"/>
            <a:ext cx="2320828" cy="822639"/>
            <a:chOff x="4846637" y="119557"/>
            <a:chExt cx="3783013" cy="1005693"/>
          </a:xfrm>
        </p:grpSpPr>
        <p:sp>
          <p:nvSpPr>
            <p:cNvPr id="10" name="Freihandform: Form 9">
              <a:extLst>
                <a:ext uri="{FF2B5EF4-FFF2-40B4-BE49-F238E27FC236}">
                  <a16:creationId xmlns="" xmlns:a16="http://schemas.microsoft.com/office/drawing/2014/main" id="{BC779D39-D9BE-456C-932C-90157753B824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B50BB92C-06E3-4F21-96E2-B587EED5161E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="" xmlns:a16="http://schemas.microsoft.com/office/drawing/2014/main" id="{855BC612-A565-4995-974E-DBAC4B729050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44462D1D-D151-4AD3-A2DA-8257376E401D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="" xmlns:a16="http://schemas.microsoft.com/office/drawing/2014/main" id="{07239E2B-B3C5-44BB-B6DD-DB8BC01E6601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22" name="Titel 1">
            <a:extLst>
              <a:ext uri="{FF2B5EF4-FFF2-40B4-BE49-F238E27FC236}">
                <a16:creationId xmlns="" xmlns:a16="http://schemas.microsoft.com/office/drawing/2014/main" id="{7204390B-3D37-494E-81FF-E1335F27C2A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4"/>
            <a:ext cx="4839634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541407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="" xmlns:a16="http://schemas.microsoft.com/office/drawing/2014/main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7" y="167507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1"/>
            <a:ext cx="4839634" cy="477280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8" name="Bildplatzhalter 5">
            <a:extLst>
              <a:ext uri="{FF2B5EF4-FFF2-40B4-BE49-F238E27FC236}">
                <a16:creationId xmlns="" xmlns:a16="http://schemas.microsoft.com/office/drawing/2014/main" id="{BD74B354-F270-4422-B8BC-EE20D478AA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528947" y="3273374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9" name="Titel 1">
            <a:extLst>
              <a:ext uri="{FF2B5EF4-FFF2-40B4-BE49-F238E27FC236}">
                <a16:creationId xmlns="" xmlns:a16="http://schemas.microsoft.com/office/drawing/2014/main" id="{E5EE29FF-B139-4CD9-A32C-25A2CCBFB41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4839635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576283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 Foto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="" xmlns:a16="http://schemas.microsoft.com/office/drawing/2014/main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528947" y="167507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2"/>
            <a:ext cx="4839634" cy="379998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9" name="Key Visual">
            <a:extLst>
              <a:ext uri="{FF2B5EF4-FFF2-40B4-BE49-F238E27FC236}">
                <a16:creationId xmlns="" xmlns:a16="http://schemas.microsoft.com/office/drawing/2014/main" id="{0AED28BE-BD58-4C37-99C9-6DDD5906BC8A}"/>
              </a:ext>
            </a:extLst>
          </p:cNvPr>
          <p:cNvGrpSpPr/>
          <p:nvPr userDrawn="1"/>
        </p:nvGrpSpPr>
        <p:grpSpPr bwMode="gray">
          <a:xfrm flipV="1">
            <a:off x="123135" y="5311119"/>
            <a:ext cx="2320828" cy="822639"/>
            <a:chOff x="4846637" y="119557"/>
            <a:chExt cx="3783013" cy="1005693"/>
          </a:xfrm>
        </p:grpSpPr>
        <p:sp>
          <p:nvSpPr>
            <p:cNvPr id="10" name="Freihandform: Form 9">
              <a:extLst>
                <a:ext uri="{FF2B5EF4-FFF2-40B4-BE49-F238E27FC236}">
                  <a16:creationId xmlns="" xmlns:a16="http://schemas.microsoft.com/office/drawing/2014/main" id="{BC779D39-D9BE-456C-932C-90157753B824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B50BB92C-06E3-4F21-96E2-B587EED5161E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="" xmlns:a16="http://schemas.microsoft.com/office/drawing/2014/main" id="{855BC612-A565-4995-974E-DBAC4B729050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="" xmlns:a16="http://schemas.microsoft.com/office/drawing/2014/main" id="{44462D1D-D151-4AD3-A2DA-8257376E401D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="" xmlns:a16="http://schemas.microsoft.com/office/drawing/2014/main" id="{07239E2B-B3C5-44BB-B6DD-DB8BC01E6601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8" name="Bildplatzhalter 5">
            <a:extLst>
              <a:ext uri="{FF2B5EF4-FFF2-40B4-BE49-F238E27FC236}">
                <a16:creationId xmlns="" xmlns:a16="http://schemas.microsoft.com/office/drawing/2014/main" id="{BD74B354-F270-4422-B8BC-EE20D478AA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528947" y="3273374"/>
            <a:ext cx="3490261" cy="2860727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6" name="Titel 1">
            <a:extLst>
              <a:ext uri="{FF2B5EF4-FFF2-40B4-BE49-F238E27FC236}">
                <a16:creationId xmlns="" xmlns:a16="http://schemas.microsoft.com/office/drawing/2014/main" id="{0DB39AEE-4D7E-4227-8B8B-6259DA49FDB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4"/>
            <a:ext cx="4839634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3247819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 Fotos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>
            <a:extLst>
              <a:ext uri="{FF2B5EF4-FFF2-40B4-BE49-F238E27FC236}">
                <a16:creationId xmlns="" xmlns:a16="http://schemas.microsoft.com/office/drawing/2014/main" id="{6AFC61C6-D36D-49CC-A15E-B4D2086BCD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4728158" y="3259669"/>
            <a:ext cx="4288845" cy="2874091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="" xmlns:a16="http://schemas.microsoft.com/office/drawing/2014/main" id="{04CC61FD-96E9-460E-816E-FA87841093C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23137" y="3259669"/>
            <a:ext cx="4288845" cy="2874091"/>
          </a:xfrm>
          <a:solidFill>
            <a:schemeClr val="bg2"/>
          </a:solidFill>
        </p:spPr>
        <p:txBody>
          <a:bodyPr vert="horz" lIns="36000" tIns="1440000" rIns="36000" bIns="36000" rtlCol="0">
            <a:noAutofit/>
          </a:bodyPr>
          <a:lstStyle>
            <a:lvl1pPr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21" y="1361294"/>
            <a:ext cx="3962161" cy="1666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083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="" xmlns:a16="http://schemas.microsoft.com/office/drawing/2014/main" id="{22732D1C-05D1-4A5F-B576-23063E1D7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5055735" y="1361294"/>
            <a:ext cx="3954917" cy="16663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88585848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3 Fotos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6">
            <a:extLst>
              <a:ext uri="{FF2B5EF4-FFF2-40B4-BE49-F238E27FC236}">
                <a16:creationId xmlns="" xmlns:a16="http://schemas.microsoft.com/office/drawing/2014/main" id="{6AFC61C6-D36D-49CC-A15E-B4D2086BCD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3140868" y="3992957"/>
            <a:ext cx="2858400" cy="2140800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="" xmlns:a16="http://schemas.microsoft.com/office/drawing/2014/main" id="{04CC61FD-96E9-460E-816E-FA87841093C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23135" y="3992957"/>
            <a:ext cx="2858400" cy="2140800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20" y="1361294"/>
            <a:ext cx="2531717" cy="23588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0833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9" name="Textplatzhalter 7">
            <a:extLst>
              <a:ext uri="{FF2B5EF4-FFF2-40B4-BE49-F238E27FC236}">
                <a16:creationId xmlns="" xmlns:a16="http://schemas.microsoft.com/office/drawing/2014/main" id="{22732D1C-05D1-4A5F-B576-23063E1D7B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3467553" y="1361294"/>
            <a:ext cx="2531717" cy="23588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="" xmlns:a16="http://schemas.microsoft.com/office/drawing/2014/main" id="{AB38192C-6783-4C98-AB15-3A38EFFC1B0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6158600" y="3992957"/>
            <a:ext cx="2858400" cy="2140800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0" name="Textplatzhalter 7">
            <a:extLst>
              <a:ext uri="{FF2B5EF4-FFF2-40B4-BE49-F238E27FC236}">
                <a16:creationId xmlns="" xmlns:a16="http://schemas.microsoft.com/office/drawing/2014/main" id="{DED8696E-3F6E-4312-8474-D7B6C988FD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485287" y="1361294"/>
            <a:ext cx="2531717" cy="23588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33675257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="" xmlns:a16="http://schemas.microsoft.com/office/drawing/2014/main" id="{AD865FD3-1198-4DEC-9CE4-A71B7C84C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60375" y="4150518"/>
            <a:ext cx="2645076" cy="1983583"/>
          </a:xfrm>
          <a:solidFill>
            <a:schemeClr val="bg2"/>
          </a:solidFill>
        </p:spPr>
        <p:txBody>
          <a:bodyPr vert="horz" lIns="36000" tIns="1152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="" xmlns:a16="http://schemas.microsoft.com/office/drawing/2014/main" id="{2FE0F192-365F-4B9B-9AE5-A8DCD077B27C}"/>
              </a:ext>
            </a:extLst>
          </p:cNvPr>
          <p:cNvSpPr/>
          <p:nvPr userDrawn="1"/>
        </p:nvSpPr>
        <p:spPr bwMode="gray">
          <a:xfrm>
            <a:off x="460374" y="1294230"/>
            <a:ext cx="2644776" cy="18534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 dirty="0" err="1">
              <a:solidFill>
                <a:prstClr val="white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="" xmlns:a16="http://schemas.microsoft.com/office/drawing/2014/main" id="{FD20B6CE-6FB5-47BE-ACA3-1FADB18A5F9F}"/>
              </a:ext>
            </a:extLst>
          </p:cNvPr>
          <p:cNvSpPr/>
          <p:nvPr userDrawn="1"/>
        </p:nvSpPr>
        <p:spPr bwMode="gray">
          <a:xfrm>
            <a:off x="460374" y="3228949"/>
            <a:ext cx="2644776" cy="84582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 dirty="0" err="1">
              <a:solidFill>
                <a:prstClr val="white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="" xmlns:a16="http://schemas.microsoft.com/office/drawing/2014/main" id="{5AF0F476-FCB1-4FAD-A333-9C951E2B5D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0374" y="3223373"/>
            <a:ext cx="2644776" cy="282675"/>
          </a:xfrm>
          <a:noFill/>
        </p:spPr>
        <p:txBody>
          <a:bodyPr vert="horz" lIns="72000" tIns="36000" rIns="72000" bIns="36000" rtlCol="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000" b="1" baseline="0" dirty="0">
                <a:solidFill>
                  <a:schemeClr val="bg1"/>
                </a:solidFill>
              </a:defRPr>
            </a:lvl1pPr>
            <a:lvl2pPr>
              <a:defRPr lang="de-DE" dirty="0"/>
            </a:lvl2pPr>
            <a:lvl3pPr>
              <a:defRPr lang="en-GB" dirty="0"/>
            </a:lvl3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Name des Partne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9" name="Titel 1">
            <a:extLst>
              <a:ext uri="{FF2B5EF4-FFF2-40B4-BE49-F238E27FC236}">
                <a16:creationId xmlns="" xmlns:a16="http://schemas.microsoft.com/office/drawing/2014/main" id="{E5EE29FF-B139-4CD9-A32C-25A2CCBFB41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4839635" cy="72072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4" name="Textplatzhalter 8">
            <a:extLst>
              <a:ext uri="{FF2B5EF4-FFF2-40B4-BE49-F238E27FC236}">
                <a16:creationId xmlns="" xmlns:a16="http://schemas.microsoft.com/office/drawing/2014/main" id="{40AE37FF-8E79-4DC2-894F-409F5F1424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0374" y="3532556"/>
            <a:ext cx="2644776" cy="525937"/>
          </a:xfrm>
          <a:noFill/>
        </p:spPr>
        <p:txBody>
          <a:bodyPr lIns="72000" anchor="t"/>
          <a:lstStyle>
            <a:lvl1pPr>
              <a:lnSpc>
                <a:spcPct val="100000"/>
              </a:lnSpc>
              <a:spcBef>
                <a:spcPts val="0"/>
              </a:spcBef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M/JJJJ – MM/JJJJ</a:t>
            </a:r>
            <a:br>
              <a:rPr lang="de-DE" dirty="0"/>
            </a:br>
            <a:r>
              <a:rPr lang="de-DE" dirty="0"/>
              <a:t>Volumen: 00 Mio. €</a:t>
            </a:r>
            <a:br>
              <a:rPr lang="de-DE" dirty="0"/>
            </a:br>
            <a:r>
              <a:rPr lang="de-DE" dirty="0"/>
              <a:t>Öffentlicher Beitrag: 000.000 €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="" xmlns:a16="http://schemas.microsoft.com/office/drawing/2014/main" id="{133FB7B2-F1B0-4BE4-A9A1-2AA5AD68EB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0374" y="1295082"/>
            <a:ext cx="2644776" cy="362396"/>
          </a:xfrm>
          <a:noFill/>
        </p:spPr>
        <p:txBody>
          <a:bodyPr lIns="72000" tIns="36000" bIns="36000" anchor="ctr"/>
          <a:lstStyle>
            <a:lvl1pPr>
              <a:defRPr sz="11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 des Landes</a:t>
            </a:r>
          </a:p>
        </p:txBody>
      </p:sp>
      <p:sp>
        <p:nvSpPr>
          <p:cNvPr id="16" name="Textplatzhalter 8">
            <a:extLst>
              <a:ext uri="{FF2B5EF4-FFF2-40B4-BE49-F238E27FC236}">
                <a16:creationId xmlns="" xmlns:a16="http://schemas.microsoft.com/office/drawing/2014/main" id="{50874649-3395-4A9D-A057-03A867415B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0374" y="1657477"/>
            <a:ext cx="2644776" cy="1490155"/>
          </a:xfrm>
          <a:noFill/>
        </p:spPr>
        <p:txBody>
          <a:bodyPr lIns="72000" tIns="0" bIns="36000" anchor="t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dirty="0"/>
              <a:t>Text mit dem Namen des Landes.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="" xmlns:a16="http://schemas.microsoft.com/office/drawing/2014/main" id="{47B8F238-9E4D-4367-BF20-CAA4F4E82F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3310597" y="1361017"/>
            <a:ext cx="5717516" cy="47730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12049669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="" xmlns:a16="http://schemas.microsoft.com/office/drawing/2014/main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8" y="165101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="" xmlns:a16="http://schemas.microsoft.com/office/drawing/2014/main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8" y="165101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1059420" y="6583902"/>
            <a:ext cx="533639" cy="92333"/>
          </a:xfrm>
        </p:spPr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>
          <a:xfrm>
            <a:off x="1783025" y="6583904"/>
            <a:ext cx="5839479" cy="92333"/>
          </a:xfrm>
        </p:spPr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49817" y="6583902"/>
            <a:ext cx="450850" cy="92333"/>
          </a:xfrm>
        </p:spPr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="" xmlns:a16="http://schemas.microsoft.com/office/drawing/2014/main" id="{3B6C23A5-1B72-42F2-B92F-DC68B632F6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4"/>
            <a:ext cx="8342492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9" name="Textplatzhalter 16">
            <a:extLst>
              <a:ext uri="{FF2B5EF4-FFF2-40B4-BE49-F238E27FC236}">
                <a16:creationId xmlns="" xmlns:a16="http://schemas.microsoft.com/office/drawing/2014/main" id="{F0C65784-9410-409B-82EA-6584D4732C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40287" y="2760960"/>
            <a:ext cx="3369561" cy="136671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 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 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20" name="Textplatzhalter 29">
            <a:extLst>
              <a:ext uri="{FF2B5EF4-FFF2-40B4-BE49-F238E27FC236}">
                <a16:creationId xmlns="" xmlns:a16="http://schemas.microsoft.com/office/drawing/2014/main" id="{85761457-A63B-46F2-99C5-E217A1E0A70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2140287" y="1857149"/>
            <a:ext cx="3369561" cy="235035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platzhalter 30">
            <a:extLst>
              <a:ext uri="{FF2B5EF4-FFF2-40B4-BE49-F238E27FC236}">
                <a16:creationId xmlns="" xmlns:a16="http://schemas.microsoft.com/office/drawing/2014/main" id="{CB52D947-0416-4964-B28D-129580E4772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2140287" y="2181305"/>
            <a:ext cx="3369561" cy="235035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5" name="Bildplatzhalter 6">
            <a:extLst>
              <a:ext uri="{FF2B5EF4-FFF2-40B4-BE49-F238E27FC236}">
                <a16:creationId xmlns="" xmlns:a16="http://schemas.microsoft.com/office/drawing/2014/main" id="{FC763A8F-9E6C-4EEB-90DC-0F65B80379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9819" y="1857149"/>
            <a:ext cx="1468079" cy="2270523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7" name="TextBox 7">
            <a:extLst>
              <a:ext uri="{FF2B5EF4-FFF2-40B4-BE49-F238E27FC236}">
                <a16:creationId xmlns="" xmlns:a16="http://schemas.microsoft.com/office/drawing/2014/main" id="{A45E5920-77D2-4E1E-832E-8A215D8A1078}"/>
              </a:ext>
            </a:extLst>
          </p:cNvPr>
          <p:cNvSpPr txBox="1"/>
          <p:nvPr userDrawn="1"/>
        </p:nvSpPr>
        <p:spPr bwMode="gray">
          <a:xfrm>
            <a:off x="784637" y="5403598"/>
            <a:ext cx="8386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www.giz.de</a:t>
            </a:r>
          </a:p>
        </p:txBody>
      </p:sp>
      <p:pic>
        <p:nvPicPr>
          <p:cNvPr id="38" name="Grafik 37" descr="Ein Bild, das Axt, Werkzeug enthält.&#10;&#10;Mit sehr hoher Zuverlässigkeit generierte Beschreibung">
            <a:extLst>
              <a:ext uri="{FF2B5EF4-FFF2-40B4-BE49-F238E27FC236}">
                <a16:creationId xmlns="" xmlns:a16="http://schemas.microsoft.com/office/drawing/2014/main" id="{195D3B85-8F61-41B8-939D-6F7806BB044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273484" y="5442595"/>
            <a:ext cx="290728" cy="315277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="" xmlns:a16="http://schemas.microsoft.com/office/drawing/2014/main" id="{E3F751BB-E4FA-4732-80BD-F94670E22B0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961178" y="5408251"/>
            <a:ext cx="234516" cy="312685"/>
          </a:xfrm>
          <a:prstGeom prst="rect">
            <a:avLst/>
          </a:prstGeom>
        </p:spPr>
      </p:pic>
      <p:grpSp>
        <p:nvGrpSpPr>
          <p:cNvPr id="40" name="Gruppieren 39">
            <a:extLst>
              <a:ext uri="{FF2B5EF4-FFF2-40B4-BE49-F238E27FC236}">
                <a16:creationId xmlns="" xmlns:a16="http://schemas.microsoft.com/office/drawing/2014/main" id="{58EDDA33-F3A1-4081-87DD-3B5C06FD4DD3}"/>
              </a:ext>
            </a:extLst>
          </p:cNvPr>
          <p:cNvGrpSpPr/>
          <p:nvPr userDrawn="1"/>
        </p:nvGrpSpPr>
        <p:grpSpPr bwMode="gray">
          <a:xfrm>
            <a:off x="444492" y="5372336"/>
            <a:ext cx="262622" cy="396344"/>
            <a:chOff x="4933951" y="-41275"/>
            <a:chExt cx="2130425" cy="2411413"/>
          </a:xfrm>
        </p:grpSpPr>
        <p:sp>
          <p:nvSpPr>
            <p:cNvPr id="41" name="Freeform 6">
              <a:extLst>
                <a:ext uri="{FF2B5EF4-FFF2-40B4-BE49-F238E27FC236}">
                  <a16:creationId xmlns="" xmlns:a16="http://schemas.microsoft.com/office/drawing/2014/main" id="{29CE574A-E366-49FD-9460-14AADB765F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1435100"/>
              <a:ext cx="2114550" cy="935038"/>
            </a:xfrm>
            <a:custGeom>
              <a:avLst/>
              <a:gdLst>
                <a:gd name="T0" fmla="*/ 287 w 425"/>
                <a:gd name="T1" fmla="*/ 25 h 188"/>
                <a:gd name="T2" fmla="*/ 297 w 425"/>
                <a:gd name="T3" fmla="*/ 2 h 188"/>
                <a:gd name="T4" fmla="*/ 325 w 425"/>
                <a:gd name="T5" fmla="*/ 0 h 188"/>
                <a:gd name="T6" fmla="*/ 321 w 425"/>
                <a:gd name="T7" fmla="*/ 23 h 188"/>
                <a:gd name="T8" fmla="*/ 382 w 425"/>
                <a:gd name="T9" fmla="*/ 25 h 188"/>
                <a:gd name="T10" fmla="*/ 394 w 425"/>
                <a:gd name="T11" fmla="*/ 2 h 188"/>
                <a:gd name="T12" fmla="*/ 423 w 425"/>
                <a:gd name="T13" fmla="*/ 0 h 188"/>
                <a:gd name="T14" fmla="*/ 307 w 425"/>
                <a:gd name="T15" fmla="*/ 135 h 188"/>
                <a:gd name="T16" fmla="*/ 0 w 425"/>
                <a:gd name="T17" fmla="*/ 2 h 188"/>
                <a:gd name="T18" fmla="*/ 28 w 425"/>
                <a:gd name="T19" fmla="*/ 0 h 188"/>
                <a:gd name="T20" fmla="*/ 40 w 425"/>
                <a:gd name="T21" fmla="*/ 23 h 188"/>
                <a:gd name="T22" fmla="*/ 101 w 425"/>
                <a:gd name="T23" fmla="*/ 25 h 188"/>
                <a:gd name="T24" fmla="*/ 97 w 425"/>
                <a:gd name="T25" fmla="*/ 3 h 188"/>
                <a:gd name="T26" fmla="*/ 125 w 425"/>
                <a:gd name="T27" fmla="*/ 0 h 188"/>
                <a:gd name="T28" fmla="*/ 134 w 425"/>
                <a:gd name="T29" fmla="*/ 23 h 188"/>
                <a:gd name="T30" fmla="*/ 192 w 425"/>
                <a:gd name="T31" fmla="*/ 25 h 188"/>
                <a:gd name="T32" fmla="*/ 194 w 425"/>
                <a:gd name="T33" fmla="*/ 2 h 188"/>
                <a:gd name="T34" fmla="*/ 221 w 425"/>
                <a:gd name="T35" fmla="*/ 0 h 188"/>
                <a:gd name="T36" fmla="*/ 224 w 425"/>
                <a:gd name="T37" fmla="*/ 23 h 188"/>
                <a:gd name="T38" fmla="*/ 256 w 425"/>
                <a:gd name="T39" fmla="*/ 25 h 188"/>
                <a:gd name="T40" fmla="*/ 362 w 425"/>
                <a:gd name="T41" fmla="*/ 55 h 188"/>
                <a:gd name="T42" fmla="*/ 307 w 425"/>
                <a:gd name="T43" fmla="*/ 56 h 188"/>
                <a:gd name="T44" fmla="*/ 256 w 425"/>
                <a:gd name="T45" fmla="*/ 121 h 188"/>
                <a:gd name="T46" fmla="*/ 363 w 425"/>
                <a:gd name="T47" fmla="*/ 56 h 188"/>
                <a:gd name="T48" fmla="*/ 87 w 425"/>
                <a:gd name="T49" fmla="*/ 55 h 188"/>
                <a:gd name="T50" fmla="*/ 61 w 425"/>
                <a:gd name="T51" fmla="*/ 55 h 188"/>
                <a:gd name="T52" fmla="*/ 155 w 425"/>
                <a:gd name="T53" fmla="*/ 118 h 188"/>
                <a:gd name="T54" fmla="*/ 156 w 425"/>
                <a:gd name="T55" fmla="*/ 117 h 188"/>
                <a:gd name="T56" fmla="*/ 111 w 425"/>
                <a:gd name="T57" fmla="*/ 55 h 188"/>
                <a:gd name="T58" fmla="*/ 224 w 425"/>
                <a:gd name="T59" fmla="*/ 81 h 188"/>
                <a:gd name="T60" fmla="*/ 224 w 425"/>
                <a:gd name="T61" fmla="*/ 108 h 188"/>
                <a:gd name="T62" fmla="*/ 273 w 425"/>
                <a:gd name="T63" fmla="*/ 56 h 188"/>
                <a:gd name="T64" fmla="*/ 225 w 425"/>
                <a:gd name="T65" fmla="*/ 55 h 188"/>
                <a:gd name="T66" fmla="*/ 224 w 425"/>
                <a:gd name="T67" fmla="*/ 81 h 188"/>
                <a:gd name="T68" fmla="*/ 194 w 425"/>
                <a:gd name="T69" fmla="*/ 56 h 188"/>
                <a:gd name="T70" fmla="*/ 148 w 425"/>
                <a:gd name="T71" fmla="*/ 55 h 188"/>
                <a:gd name="T72" fmla="*/ 192 w 425"/>
                <a:gd name="T73" fmla="*/ 109 h 188"/>
                <a:gd name="T74" fmla="*/ 194 w 425"/>
                <a:gd name="T75" fmla="*/ 10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5" h="188">
                  <a:moveTo>
                    <a:pt x="256" y="25"/>
                  </a:moveTo>
                  <a:cubicBezTo>
                    <a:pt x="267" y="25"/>
                    <a:pt x="277" y="25"/>
                    <a:pt x="287" y="25"/>
                  </a:cubicBezTo>
                  <a:cubicBezTo>
                    <a:pt x="288" y="25"/>
                    <a:pt x="290" y="24"/>
                    <a:pt x="290" y="23"/>
                  </a:cubicBezTo>
                  <a:cubicBezTo>
                    <a:pt x="292" y="16"/>
                    <a:pt x="294" y="9"/>
                    <a:pt x="297" y="2"/>
                  </a:cubicBezTo>
                  <a:cubicBezTo>
                    <a:pt x="297" y="2"/>
                    <a:pt x="298" y="0"/>
                    <a:pt x="299" y="0"/>
                  </a:cubicBezTo>
                  <a:cubicBezTo>
                    <a:pt x="308" y="0"/>
                    <a:pt x="316" y="0"/>
                    <a:pt x="325" y="0"/>
                  </a:cubicBezTo>
                  <a:cubicBezTo>
                    <a:pt x="326" y="0"/>
                    <a:pt x="327" y="2"/>
                    <a:pt x="326" y="2"/>
                  </a:cubicBezTo>
                  <a:cubicBezTo>
                    <a:pt x="325" y="9"/>
                    <a:pt x="323" y="16"/>
                    <a:pt x="321" y="23"/>
                  </a:cubicBezTo>
                  <a:cubicBezTo>
                    <a:pt x="321" y="23"/>
                    <a:pt x="322" y="25"/>
                    <a:pt x="322" y="25"/>
                  </a:cubicBezTo>
                  <a:cubicBezTo>
                    <a:pt x="342" y="25"/>
                    <a:pt x="362" y="25"/>
                    <a:pt x="382" y="25"/>
                  </a:cubicBezTo>
                  <a:cubicBezTo>
                    <a:pt x="383" y="25"/>
                    <a:pt x="384" y="24"/>
                    <a:pt x="384" y="23"/>
                  </a:cubicBezTo>
                  <a:cubicBezTo>
                    <a:pt x="388" y="16"/>
                    <a:pt x="391" y="9"/>
                    <a:pt x="394" y="2"/>
                  </a:cubicBezTo>
                  <a:cubicBezTo>
                    <a:pt x="394" y="1"/>
                    <a:pt x="395" y="0"/>
                    <a:pt x="396" y="0"/>
                  </a:cubicBezTo>
                  <a:cubicBezTo>
                    <a:pt x="405" y="0"/>
                    <a:pt x="414" y="0"/>
                    <a:pt x="423" y="0"/>
                  </a:cubicBezTo>
                  <a:cubicBezTo>
                    <a:pt x="424" y="0"/>
                    <a:pt x="425" y="2"/>
                    <a:pt x="425" y="3"/>
                  </a:cubicBezTo>
                  <a:cubicBezTo>
                    <a:pt x="405" y="64"/>
                    <a:pt x="365" y="108"/>
                    <a:pt x="307" y="135"/>
                  </a:cubicBezTo>
                  <a:cubicBezTo>
                    <a:pt x="195" y="188"/>
                    <a:pt x="60" y="139"/>
                    <a:pt x="10" y="28"/>
                  </a:cubicBezTo>
                  <a:cubicBezTo>
                    <a:pt x="6" y="20"/>
                    <a:pt x="3" y="11"/>
                    <a:pt x="0" y="2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10" y="0"/>
                    <a:pt x="19" y="0"/>
                    <a:pt x="28" y="0"/>
                  </a:cubicBezTo>
                  <a:cubicBezTo>
                    <a:pt x="29" y="0"/>
                    <a:pt x="30" y="1"/>
                    <a:pt x="31" y="2"/>
                  </a:cubicBezTo>
                  <a:cubicBezTo>
                    <a:pt x="34" y="9"/>
                    <a:pt x="37" y="16"/>
                    <a:pt x="40" y="23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62" y="25"/>
                    <a:pt x="81" y="25"/>
                    <a:pt x="101" y="25"/>
                  </a:cubicBezTo>
                  <a:cubicBezTo>
                    <a:pt x="101" y="25"/>
                    <a:pt x="102" y="23"/>
                    <a:pt x="102" y="23"/>
                  </a:cubicBezTo>
                  <a:cubicBezTo>
                    <a:pt x="101" y="16"/>
                    <a:pt x="99" y="9"/>
                    <a:pt x="97" y="3"/>
                  </a:cubicBezTo>
                  <a:cubicBezTo>
                    <a:pt x="97" y="2"/>
                    <a:pt x="98" y="0"/>
                    <a:pt x="99" y="0"/>
                  </a:cubicBezTo>
                  <a:cubicBezTo>
                    <a:pt x="108" y="0"/>
                    <a:pt x="116" y="0"/>
                    <a:pt x="125" y="0"/>
                  </a:cubicBezTo>
                  <a:cubicBezTo>
                    <a:pt x="126" y="0"/>
                    <a:pt x="127" y="1"/>
                    <a:pt x="127" y="2"/>
                  </a:cubicBezTo>
                  <a:cubicBezTo>
                    <a:pt x="130" y="9"/>
                    <a:pt x="131" y="16"/>
                    <a:pt x="134" y="23"/>
                  </a:cubicBezTo>
                  <a:cubicBezTo>
                    <a:pt x="134" y="24"/>
                    <a:pt x="135" y="25"/>
                    <a:pt x="136" y="25"/>
                  </a:cubicBezTo>
                  <a:cubicBezTo>
                    <a:pt x="155" y="25"/>
                    <a:pt x="173" y="25"/>
                    <a:pt x="192" y="25"/>
                  </a:cubicBezTo>
                  <a:cubicBezTo>
                    <a:pt x="193" y="25"/>
                    <a:pt x="194" y="24"/>
                    <a:pt x="194" y="23"/>
                  </a:cubicBezTo>
                  <a:cubicBezTo>
                    <a:pt x="194" y="16"/>
                    <a:pt x="194" y="9"/>
                    <a:pt x="194" y="2"/>
                  </a:cubicBezTo>
                  <a:cubicBezTo>
                    <a:pt x="194" y="2"/>
                    <a:pt x="195" y="0"/>
                    <a:pt x="196" y="0"/>
                  </a:cubicBezTo>
                  <a:cubicBezTo>
                    <a:pt x="205" y="0"/>
                    <a:pt x="213" y="0"/>
                    <a:pt x="221" y="0"/>
                  </a:cubicBezTo>
                  <a:cubicBezTo>
                    <a:pt x="222" y="0"/>
                    <a:pt x="223" y="2"/>
                    <a:pt x="223" y="3"/>
                  </a:cubicBezTo>
                  <a:cubicBezTo>
                    <a:pt x="224" y="9"/>
                    <a:pt x="223" y="16"/>
                    <a:pt x="224" y="23"/>
                  </a:cubicBezTo>
                  <a:cubicBezTo>
                    <a:pt x="224" y="23"/>
                    <a:pt x="225" y="25"/>
                    <a:pt x="226" y="25"/>
                  </a:cubicBezTo>
                  <a:cubicBezTo>
                    <a:pt x="236" y="25"/>
                    <a:pt x="246" y="25"/>
                    <a:pt x="256" y="25"/>
                  </a:cubicBezTo>
                  <a:close/>
                  <a:moveTo>
                    <a:pt x="364" y="55"/>
                  </a:moveTo>
                  <a:cubicBezTo>
                    <a:pt x="363" y="55"/>
                    <a:pt x="363" y="55"/>
                    <a:pt x="362" y="55"/>
                  </a:cubicBezTo>
                  <a:cubicBezTo>
                    <a:pt x="345" y="55"/>
                    <a:pt x="328" y="54"/>
                    <a:pt x="311" y="55"/>
                  </a:cubicBezTo>
                  <a:cubicBezTo>
                    <a:pt x="310" y="55"/>
                    <a:pt x="308" y="56"/>
                    <a:pt x="307" y="56"/>
                  </a:cubicBezTo>
                  <a:cubicBezTo>
                    <a:pt x="295" y="81"/>
                    <a:pt x="279" y="103"/>
                    <a:pt x="257" y="120"/>
                  </a:cubicBezTo>
                  <a:cubicBezTo>
                    <a:pt x="257" y="121"/>
                    <a:pt x="257" y="121"/>
                    <a:pt x="256" y="121"/>
                  </a:cubicBezTo>
                  <a:cubicBezTo>
                    <a:pt x="257" y="122"/>
                    <a:pt x="257" y="122"/>
                    <a:pt x="258" y="122"/>
                  </a:cubicBezTo>
                  <a:cubicBezTo>
                    <a:pt x="300" y="111"/>
                    <a:pt x="335" y="90"/>
                    <a:pt x="363" y="56"/>
                  </a:cubicBezTo>
                  <a:cubicBezTo>
                    <a:pt x="363" y="56"/>
                    <a:pt x="364" y="55"/>
                    <a:pt x="364" y="55"/>
                  </a:cubicBezTo>
                  <a:close/>
                  <a:moveTo>
                    <a:pt x="87" y="55"/>
                  </a:moveTo>
                  <a:cubicBezTo>
                    <a:pt x="79" y="55"/>
                    <a:pt x="71" y="54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5"/>
                    <a:pt x="61" y="56"/>
                    <a:pt x="62" y="56"/>
                  </a:cubicBezTo>
                  <a:cubicBezTo>
                    <a:pt x="86" y="86"/>
                    <a:pt x="118" y="107"/>
                    <a:pt x="155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8"/>
                    <a:pt x="156" y="118"/>
                    <a:pt x="156" y="117"/>
                  </a:cubicBezTo>
                  <a:cubicBezTo>
                    <a:pt x="137" y="100"/>
                    <a:pt x="124" y="79"/>
                    <a:pt x="114" y="56"/>
                  </a:cubicBezTo>
                  <a:cubicBezTo>
                    <a:pt x="114" y="55"/>
                    <a:pt x="112" y="55"/>
                    <a:pt x="111" y="55"/>
                  </a:cubicBezTo>
                  <a:cubicBezTo>
                    <a:pt x="103" y="54"/>
                    <a:pt x="95" y="55"/>
                    <a:pt x="87" y="55"/>
                  </a:cubicBezTo>
                  <a:close/>
                  <a:moveTo>
                    <a:pt x="224" y="81"/>
                  </a:moveTo>
                  <a:cubicBezTo>
                    <a:pt x="224" y="89"/>
                    <a:pt x="224" y="98"/>
                    <a:pt x="224" y="106"/>
                  </a:cubicBezTo>
                  <a:cubicBezTo>
                    <a:pt x="224" y="107"/>
                    <a:pt x="224" y="107"/>
                    <a:pt x="224" y="108"/>
                  </a:cubicBezTo>
                  <a:cubicBezTo>
                    <a:pt x="224" y="108"/>
                    <a:pt x="225" y="107"/>
                    <a:pt x="226" y="107"/>
                  </a:cubicBezTo>
                  <a:cubicBezTo>
                    <a:pt x="246" y="94"/>
                    <a:pt x="261" y="76"/>
                    <a:pt x="273" y="56"/>
                  </a:cubicBezTo>
                  <a:cubicBezTo>
                    <a:pt x="274" y="56"/>
                    <a:pt x="273" y="55"/>
                    <a:pt x="272" y="55"/>
                  </a:cubicBezTo>
                  <a:cubicBezTo>
                    <a:pt x="257" y="54"/>
                    <a:pt x="241" y="54"/>
                    <a:pt x="225" y="55"/>
                  </a:cubicBezTo>
                  <a:cubicBezTo>
                    <a:pt x="225" y="55"/>
                    <a:pt x="224" y="56"/>
                    <a:pt x="224" y="56"/>
                  </a:cubicBezTo>
                  <a:cubicBezTo>
                    <a:pt x="224" y="65"/>
                    <a:pt x="224" y="73"/>
                    <a:pt x="224" y="81"/>
                  </a:cubicBezTo>
                  <a:close/>
                  <a:moveTo>
                    <a:pt x="194" y="82"/>
                  </a:moveTo>
                  <a:cubicBezTo>
                    <a:pt x="194" y="73"/>
                    <a:pt x="194" y="65"/>
                    <a:pt x="194" y="56"/>
                  </a:cubicBezTo>
                  <a:cubicBezTo>
                    <a:pt x="194" y="56"/>
                    <a:pt x="193" y="55"/>
                    <a:pt x="192" y="55"/>
                  </a:cubicBezTo>
                  <a:cubicBezTo>
                    <a:pt x="178" y="54"/>
                    <a:pt x="163" y="54"/>
                    <a:pt x="148" y="55"/>
                  </a:cubicBezTo>
                  <a:cubicBezTo>
                    <a:pt x="148" y="55"/>
                    <a:pt x="147" y="56"/>
                    <a:pt x="147" y="56"/>
                  </a:cubicBezTo>
                  <a:cubicBezTo>
                    <a:pt x="158" y="77"/>
                    <a:pt x="172" y="95"/>
                    <a:pt x="192" y="109"/>
                  </a:cubicBezTo>
                  <a:cubicBezTo>
                    <a:pt x="193" y="109"/>
                    <a:pt x="193" y="109"/>
                    <a:pt x="194" y="109"/>
                  </a:cubicBezTo>
                  <a:cubicBezTo>
                    <a:pt x="194" y="109"/>
                    <a:pt x="194" y="108"/>
                    <a:pt x="194" y="108"/>
                  </a:cubicBezTo>
                  <a:cubicBezTo>
                    <a:pt x="194" y="99"/>
                    <a:pt x="194" y="91"/>
                    <a:pt x="19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="" xmlns:a16="http://schemas.microsoft.com/office/drawing/2014/main" id="{38A2A830-AF34-4C5B-87EB-D628018EE32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-41275"/>
              <a:ext cx="2108200" cy="860425"/>
            </a:xfrm>
            <a:custGeom>
              <a:avLst/>
              <a:gdLst>
                <a:gd name="T0" fmla="*/ 45 w 424"/>
                <a:gd name="T1" fmla="*/ 148 h 173"/>
                <a:gd name="T2" fmla="*/ 32 w 424"/>
                <a:gd name="T3" fmla="*/ 170 h 173"/>
                <a:gd name="T4" fmla="*/ 3 w 424"/>
                <a:gd name="T5" fmla="*/ 173 h 173"/>
                <a:gd name="T6" fmla="*/ 155 w 424"/>
                <a:gd name="T7" fmla="*/ 28 h 173"/>
                <a:gd name="T8" fmla="*/ 424 w 424"/>
                <a:gd name="T9" fmla="*/ 171 h 173"/>
                <a:gd name="T10" fmla="*/ 395 w 424"/>
                <a:gd name="T11" fmla="*/ 173 h 173"/>
                <a:gd name="T12" fmla="*/ 382 w 424"/>
                <a:gd name="T13" fmla="*/ 149 h 173"/>
                <a:gd name="T14" fmla="*/ 321 w 424"/>
                <a:gd name="T15" fmla="*/ 148 h 173"/>
                <a:gd name="T16" fmla="*/ 325 w 424"/>
                <a:gd name="T17" fmla="*/ 171 h 173"/>
                <a:gd name="T18" fmla="*/ 297 w 424"/>
                <a:gd name="T19" fmla="*/ 173 h 173"/>
                <a:gd name="T20" fmla="*/ 287 w 424"/>
                <a:gd name="T21" fmla="*/ 149 h 173"/>
                <a:gd name="T22" fmla="*/ 225 w 424"/>
                <a:gd name="T23" fmla="*/ 148 h 173"/>
                <a:gd name="T24" fmla="*/ 223 w 424"/>
                <a:gd name="T25" fmla="*/ 170 h 173"/>
                <a:gd name="T26" fmla="*/ 196 w 424"/>
                <a:gd name="T27" fmla="*/ 173 h 173"/>
                <a:gd name="T28" fmla="*/ 194 w 424"/>
                <a:gd name="T29" fmla="*/ 150 h 173"/>
                <a:gd name="T30" fmla="*/ 137 w 424"/>
                <a:gd name="T31" fmla="*/ 148 h 173"/>
                <a:gd name="T32" fmla="*/ 128 w 424"/>
                <a:gd name="T33" fmla="*/ 171 h 173"/>
                <a:gd name="T34" fmla="*/ 99 w 424"/>
                <a:gd name="T35" fmla="*/ 173 h 173"/>
                <a:gd name="T36" fmla="*/ 103 w 424"/>
                <a:gd name="T37" fmla="*/ 150 h 173"/>
                <a:gd name="T38" fmla="*/ 73 w 424"/>
                <a:gd name="T39" fmla="*/ 148 h 173"/>
                <a:gd name="T40" fmla="*/ 359 w 424"/>
                <a:gd name="T41" fmla="*/ 118 h 173"/>
                <a:gd name="T42" fmla="*/ 360 w 424"/>
                <a:gd name="T43" fmla="*/ 116 h 173"/>
                <a:gd name="T44" fmla="*/ 258 w 424"/>
                <a:gd name="T45" fmla="*/ 56 h 173"/>
                <a:gd name="T46" fmla="*/ 305 w 424"/>
                <a:gd name="T47" fmla="*/ 116 h 173"/>
                <a:gd name="T48" fmla="*/ 333 w 424"/>
                <a:gd name="T49" fmla="*/ 118 h 173"/>
                <a:gd name="T50" fmla="*/ 113 w 424"/>
                <a:gd name="T51" fmla="*/ 118 h 173"/>
                <a:gd name="T52" fmla="*/ 157 w 424"/>
                <a:gd name="T53" fmla="*/ 59 h 173"/>
                <a:gd name="T54" fmla="*/ 157 w 424"/>
                <a:gd name="T55" fmla="*/ 58 h 173"/>
                <a:gd name="T56" fmla="*/ 64 w 424"/>
                <a:gd name="T57" fmla="*/ 118 h 173"/>
                <a:gd name="T58" fmla="*/ 90 w 424"/>
                <a:gd name="T59" fmla="*/ 118 h 173"/>
                <a:gd name="T60" fmla="*/ 269 w 424"/>
                <a:gd name="T61" fmla="*/ 118 h 173"/>
                <a:gd name="T62" fmla="*/ 225 w 424"/>
                <a:gd name="T63" fmla="*/ 68 h 173"/>
                <a:gd name="T64" fmla="*/ 224 w 424"/>
                <a:gd name="T65" fmla="*/ 69 h 173"/>
                <a:gd name="T66" fmla="*/ 225 w 424"/>
                <a:gd name="T67" fmla="*/ 118 h 173"/>
                <a:gd name="T68" fmla="*/ 194 w 424"/>
                <a:gd name="T69" fmla="*/ 93 h 173"/>
                <a:gd name="T70" fmla="*/ 194 w 424"/>
                <a:gd name="T71" fmla="*/ 68 h 173"/>
                <a:gd name="T72" fmla="*/ 150 w 424"/>
                <a:gd name="T73" fmla="*/ 116 h 173"/>
                <a:gd name="T74" fmla="*/ 192 w 424"/>
                <a:gd name="T75" fmla="*/ 118 h 173"/>
                <a:gd name="T76" fmla="*/ 194 w 424"/>
                <a:gd name="T77" fmla="*/ 9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4" h="173">
                  <a:moveTo>
                    <a:pt x="73" y="148"/>
                  </a:moveTo>
                  <a:cubicBezTo>
                    <a:pt x="64" y="148"/>
                    <a:pt x="55" y="148"/>
                    <a:pt x="45" y="148"/>
                  </a:cubicBezTo>
                  <a:cubicBezTo>
                    <a:pt x="44" y="148"/>
                    <a:pt x="43" y="149"/>
                    <a:pt x="42" y="149"/>
                  </a:cubicBezTo>
                  <a:cubicBezTo>
                    <a:pt x="39" y="156"/>
                    <a:pt x="36" y="164"/>
                    <a:pt x="32" y="170"/>
                  </a:cubicBezTo>
                  <a:cubicBezTo>
                    <a:pt x="32" y="171"/>
                    <a:pt x="30" y="173"/>
                    <a:pt x="29" y="173"/>
                  </a:cubicBezTo>
                  <a:cubicBezTo>
                    <a:pt x="21" y="173"/>
                    <a:pt x="12" y="173"/>
                    <a:pt x="3" y="173"/>
                  </a:cubicBezTo>
                  <a:cubicBezTo>
                    <a:pt x="1" y="173"/>
                    <a:pt x="0" y="172"/>
                    <a:pt x="1" y="170"/>
                  </a:cubicBezTo>
                  <a:cubicBezTo>
                    <a:pt x="28" y="96"/>
                    <a:pt x="80" y="48"/>
                    <a:pt x="155" y="28"/>
                  </a:cubicBezTo>
                  <a:cubicBezTo>
                    <a:pt x="258" y="0"/>
                    <a:pt x="366" y="50"/>
                    <a:pt x="413" y="144"/>
                  </a:cubicBezTo>
                  <a:cubicBezTo>
                    <a:pt x="417" y="153"/>
                    <a:pt x="420" y="162"/>
                    <a:pt x="424" y="171"/>
                  </a:cubicBezTo>
                  <a:cubicBezTo>
                    <a:pt x="424" y="171"/>
                    <a:pt x="423" y="173"/>
                    <a:pt x="422" y="173"/>
                  </a:cubicBezTo>
                  <a:cubicBezTo>
                    <a:pt x="413" y="173"/>
                    <a:pt x="404" y="173"/>
                    <a:pt x="395" y="173"/>
                  </a:cubicBezTo>
                  <a:cubicBezTo>
                    <a:pt x="394" y="173"/>
                    <a:pt x="393" y="172"/>
                    <a:pt x="392" y="171"/>
                  </a:cubicBezTo>
                  <a:cubicBezTo>
                    <a:pt x="389" y="164"/>
                    <a:pt x="386" y="156"/>
                    <a:pt x="382" y="149"/>
                  </a:cubicBezTo>
                  <a:cubicBezTo>
                    <a:pt x="382" y="148"/>
                    <a:pt x="381" y="148"/>
                    <a:pt x="380" y="148"/>
                  </a:cubicBezTo>
                  <a:cubicBezTo>
                    <a:pt x="360" y="148"/>
                    <a:pt x="340" y="148"/>
                    <a:pt x="321" y="148"/>
                  </a:cubicBezTo>
                  <a:cubicBezTo>
                    <a:pt x="320" y="148"/>
                    <a:pt x="319" y="149"/>
                    <a:pt x="319" y="150"/>
                  </a:cubicBezTo>
                  <a:cubicBezTo>
                    <a:pt x="321" y="157"/>
                    <a:pt x="323" y="164"/>
                    <a:pt x="325" y="171"/>
                  </a:cubicBezTo>
                  <a:cubicBezTo>
                    <a:pt x="325" y="171"/>
                    <a:pt x="325" y="173"/>
                    <a:pt x="324" y="173"/>
                  </a:cubicBezTo>
                  <a:cubicBezTo>
                    <a:pt x="315" y="173"/>
                    <a:pt x="306" y="173"/>
                    <a:pt x="297" y="173"/>
                  </a:cubicBezTo>
                  <a:cubicBezTo>
                    <a:pt x="296" y="173"/>
                    <a:pt x="295" y="172"/>
                    <a:pt x="295" y="171"/>
                  </a:cubicBezTo>
                  <a:cubicBezTo>
                    <a:pt x="292" y="164"/>
                    <a:pt x="290" y="156"/>
                    <a:pt x="287" y="149"/>
                  </a:cubicBezTo>
                  <a:cubicBezTo>
                    <a:pt x="287" y="148"/>
                    <a:pt x="286" y="148"/>
                    <a:pt x="285" y="148"/>
                  </a:cubicBezTo>
                  <a:cubicBezTo>
                    <a:pt x="265" y="148"/>
                    <a:pt x="245" y="148"/>
                    <a:pt x="225" y="148"/>
                  </a:cubicBezTo>
                  <a:cubicBezTo>
                    <a:pt x="225" y="148"/>
                    <a:pt x="224" y="149"/>
                    <a:pt x="224" y="150"/>
                  </a:cubicBezTo>
                  <a:cubicBezTo>
                    <a:pt x="223" y="156"/>
                    <a:pt x="224" y="163"/>
                    <a:pt x="223" y="170"/>
                  </a:cubicBezTo>
                  <a:cubicBezTo>
                    <a:pt x="223" y="171"/>
                    <a:pt x="222" y="173"/>
                    <a:pt x="221" y="173"/>
                  </a:cubicBezTo>
                  <a:cubicBezTo>
                    <a:pt x="213" y="173"/>
                    <a:pt x="205" y="173"/>
                    <a:pt x="196" y="173"/>
                  </a:cubicBezTo>
                  <a:cubicBezTo>
                    <a:pt x="195" y="173"/>
                    <a:pt x="194" y="171"/>
                    <a:pt x="194" y="170"/>
                  </a:cubicBezTo>
                  <a:cubicBezTo>
                    <a:pt x="194" y="164"/>
                    <a:pt x="194" y="157"/>
                    <a:pt x="194" y="150"/>
                  </a:cubicBezTo>
                  <a:cubicBezTo>
                    <a:pt x="194" y="149"/>
                    <a:pt x="193" y="148"/>
                    <a:pt x="192" y="148"/>
                  </a:cubicBezTo>
                  <a:cubicBezTo>
                    <a:pt x="174" y="148"/>
                    <a:pt x="156" y="148"/>
                    <a:pt x="137" y="148"/>
                  </a:cubicBezTo>
                  <a:cubicBezTo>
                    <a:pt x="137" y="148"/>
                    <a:pt x="135" y="149"/>
                    <a:pt x="135" y="149"/>
                  </a:cubicBezTo>
                  <a:cubicBezTo>
                    <a:pt x="133" y="156"/>
                    <a:pt x="131" y="164"/>
                    <a:pt x="128" y="171"/>
                  </a:cubicBezTo>
                  <a:cubicBezTo>
                    <a:pt x="128" y="172"/>
                    <a:pt x="127" y="173"/>
                    <a:pt x="126" y="173"/>
                  </a:cubicBezTo>
                  <a:cubicBezTo>
                    <a:pt x="117" y="173"/>
                    <a:pt x="108" y="173"/>
                    <a:pt x="99" y="173"/>
                  </a:cubicBezTo>
                  <a:cubicBezTo>
                    <a:pt x="99" y="173"/>
                    <a:pt x="98" y="171"/>
                    <a:pt x="98" y="171"/>
                  </a:cubicBezTo>
                  <a:cubicBezTo>
                    <a:pt x="100" y="164"/>
                    <a:pt x="101" y="157"/>
                    <a:pt x="103" y="150"/>
                  </a:cubicBezTo>
                  <a:cubicBezTo>
                    <a:pt x="103" y="149"/>
                    <a:pt x="102" y="148"/>
                    <a:pt x="102" y="148"/>
                  </a:cubicBezTo>
                  <a:cubicBezTo>
                    <a:pt x="92" y="148"/>
                    <a:pt x="83" y="148"/>
                    <a:pt x="73" y="148"/>
                  </a:cubicBezTo>
                  <a:close/>
                  <a:moveTo>
                    <a:pt x="333" y="118"/>
                  </a:moveTo>
                  <a:cubicBezTo>
                    <a:pt x="342" y="118"/>
                    <a:pt x="350" y="118"/>
                    <a:pt x="359" y="118"/>
                  </a:cubicBezTo>
                  <a:cubicBezTo>
                    <a:pt x="359" y="118"/>
                    <a:pt x="360" y="118"/>
                    <a:pt x="360" y="118"/>
                  </a:cubicBezTo>
                  <a:cubicBezTo>
                    <a:pt x="360" y="117"/>
                    <a:pt x="360" y="117"/>
                    <a:pt x="360" y="116"/>
                  </a:cubicBezTo>
                  <a:cubicBezTo>
                    <a:pt x="332" y="86"/>
                    <a:pt x="299" y="66"/>
                    <a:pt x="259" y="56"/>
                  </a:cubicBezTo>
                  <a:cubicBezTo>
                    <a:pt x="259" y="56"/>
                    <a:pt x="258" y="56"/>
                    <a:pt x="258" y="56"/>
                  </a:cubicBezTo>
                  <a:cubicBezTo>
                    <a:pt x="258" y="56"/>
                    <a:pt x="258" y="57"/>
                    <a:pt x="259" y="57"/>
                  </a:cubicBezTo>
                  <a:cubicBezTo>
                    <a:pt x="278" y="74"/>
                    <a:pt x="293" y="94"/>
                    <a:pt x="305" y="116"/>
                  </a:cubicBezTo>
                  <a:cubicBezTo>
                    <a:pt x="305" y="117"/>
                    <a:pt x="307" y="118"/>
                    <a:pt x="308" y="118"/>
                  </a:cubicBezTo>
                  <a:cubicBezTo>
                    <a:pt x="316" y="118"/>
                    <a:pt x="325" y="118"/>
                    <a:pt x="333" y="118"/>
                  </a:cubicBezTo>
                  <a:close/>
                  <a:moveTo>
                    <a:pt x="90" y="118"/>
                  </a:moveTo>
                  <a:cubicBezTo>
                    <a:pt x="98" y="118"/>
                    <a:pt x="106" y="118"/>
                    <a:pt x="113" y="118"/>
                  </a:cubicBezTo>
                  <a:cubicBezTo>
                    <a:pt x="114" y="118"/>
                    <a:pt x="116" y="117"/>
                    <a:pt x="116" y="116"/>
                  </a:cubicBezTo>
                  <a:cubicBezTo>
                    <a:pt x="127" y="95"/>
                    <a:pt x="140" y="76"/>
                    <a:pt x="157" y="59"/>
                  </a:cubicBezTo>
                  <a:cubicBezTo>
                    <a:pt x="158" y="59"/>
                    <a:pt x="158" y="58"/>
                    <a:pt x="158" y="58"/>
                  </a:cubicBezTo>
                  <a:cubicBezTo>
                    <a:pt x="158" y="58"/>
                    <a:pt x="157" y="58"/>
                    <a:pt x="157" y="58"/>
                  </a:cubicBezTo>
                  <a:cubicBezTo>
                    <a:pt x="121" y="69"/>
                    <a:pt x="90" y="88"/>
                    <a:pt x="65" y="116"/>
                  </a:cubicBezTo>
                  <a:cubicBezTo>
                    <a:pt x="65" y="117"/>
                    <a:pt x="65" y="117"/>
                    <a:pt x="64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74" y="118"/>
                    <a:pt x="82" y="118"/>
                    <a:pt x="90" y="118"/>
                  </a:cubicBezTo>
                  <a:close/>
                  <a:moveTo>
                    <a:pt x="247" y="118"/>
                  </a:moveTo>
                  <a:cubicBezTo>
                    <a:pt x="255" y="118"/>
                    <a:pt x="262" y="118"/>
                    <a:pt x="269" y="118"/>
                  </a:cubicBezTo>
                  <a:cubicBezTo>
                    <a:pt x="270" y="118"/>
                    <a:pt x="270" y="117"/>
                    <a:pt x="270" y="116"/>
                  </a:cubicBezTo>
                  <a:cubicBezTo>
                    <a:pt x="258" y="98"/>
                    <a:pt x="244" y="81"/>
                    <a:pt x="225" y="68"/>
                  </a:cubicBezTo>
                  <a:cubicBezTo>
                    <a:pt x="225" y="68"/>
                    <a:pt x="224" y="68"/>
                    <a:pt x="224" y="67"/>
                  </a:cubicBezTo>
                  <a:cubicBezTo>
                    <a:pt x="224" y="68"/>
                    <a:pt x="224" y="69"/>
                    <a:pt x="224" y="69"/>
                  </a:cubicBezTo>
                  <a:cubicBezTo>
                    <a:pt x="224" y="85"/>
                    <a:pt x="224" y="100"/>
                    <a:pt x="224" y="116"/>
                  </a:cubicBezTo>
                  <a:cubicBezTo>
                    <a:pt x="224" y="117"/>
                    <a:pt x="225" y="118"/>
                    <a:pt x="225" y="118"/>
                  </a:cubicBezTo>
                  <a:cubicBezTo>
                    <a:pt x="233" y="118"/>
                    <a:pt x="240" y="118"/>
                    <a:pt x="247" y="118"/>
                  </a:cubicBezTo>
                  <a:close/>
                  <a:moveTo>
                    <a:pt x="194" y="93"/>
                  </a:moveTo>
                  <a:cubicBezTo>
                    <a:pt x="194" y="85"/>
                    <a:pt x="194" y="78"/>
                    <a:pt x="194" y="70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3" y="68"/>
                    <a:pt x="192" y="68"/>
                    <a:pt x="192" y="69"/>
                  </a:cubicBezTo>
                  <a:cubicBezTo>
                    <a:pt x="175" y="82"/>
                    <a:pt x="161" y="98"/>
                    <a:pt x="150" y="116"/>
                  </a:cubicBezTo>
                  <a:cubicBezTo>
                    <a:pt x="150" y="117"/>
                    <a:pt x="151" y="118"/>
                    <a:pt x="151" y="118"/>
                  </a:cubicBezTo>
                  <a:cubicBezTo>
                    <a:pt x="165" y="118"/>
                    <a:pt x="179" y="118"/>
                    <a:pt x="192" y="118"/>
                  </a:cubicBezTo>
                  <a:cubicBezTo>
                    <a:pt x="193" y="118"/>
                    <a:pt x="194" y="117"/>
                    <a:pt x="194" y="116"/>
                  </a:cubicBezTo>
                  <a:cubicBezTo>
                    <a:pt x="194" y="108"/>
                    <a:pt x="194" y="101"/>
                    <a:pt x="194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EF5B3A25-E6A5-43A3-AFD2-A4D64B803FE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3951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4 h 73"/>
                <a:gd name="T12" fmla="*/ 32 w 124"/>
                <a:gd name="T13" fmla="*/ 73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1 h 73"/>
                <a:gd name="T24" fmla="*/ 34 w 124"/>
                <a:gd name="T25" fmla="*/ 49 h 73"/>
                <a:gd name="T26" fmla="*/ 37 w 124"/>
                <a:gd name="T27" fmla="*/ 42 h 73"/>
                <a:gd name="T28" fmla="*/ 47 w 124"/>
                <a:gd name="T29" fmla="*/ 11 h 73"/>
                <a:gd name="T30" fmla="*/ 62 w 124"/>
                <a:gd name="T31" fmla="*/ 1 h 73"/>
                <a:gd name="T32" fmla="*/ 76 w 124"/>
                <a:gd name="T33" fmla="*/ 11 h 73"/>
                <a:gd name="T34" fmla="*/ 89 w 124"/>
                <a:gd name="T35" fmla="*/ 47 h 73"/>
                <a:gd name="T36" fmla="*/ 90 w 124"/>
                <a:gd name="T37" fmla="*/ 49 h 73"/>
                <a:gd name="T38" fmla="*/ 90 w 124"/>
                <a:gd name="T39" fmla="*/ 47 h 73"/>
                <a:gd name="T40" fmla="*/ 101 w 124"/>
                <a:gd name="T41" fmla="*/ 10 h 73"/>
                <a:gd name="T42" fmla="*/ 113 w 124"/>
                <a:gd name="T43" fmla="*/ 1 h 73"/>
                <a:gd name="T44" fmla="*/ 121 w 124"/>
                <a:gd name="T45" fmla="*/ 13 h 73"/>
                <a:gd name="T46" fmla="*/ 104 w 124"/>
                <a:gd name="T47" fmla="*/ 63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7" y="37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7"/>
                    <a:pt x="51" y="50"/>
                    <a:pt x="46" y="64"/>
                  </a:cubicBezTo>
                  <a:cubicBezTo>
                    <a:pt x="44" y="70"/>
                    <a:pt x="40" y="73"/>
                    <a:pt x="32" y="73"/>
                  </a:cubicBezTo>
                  <a:cubicBezTo>
                    <a:pt x="25" y="72"/>
                    <a:pt x="21" y="69"/>
                    <a:pt x="19" y="63"/>
                  </a:cubicBezTo>
                  <a:cubicBezTo>
                    <a:pt x="13" y="47"/>
                    <a:pt x="8" y="30"/>
                    <a:pt x="2" y="14"/>
                  </a:cubicBezTo>
                  <a:cubicBezTo>
                    <a:pt x="0" y="8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8"/>
                    <a:pt x="28" y="30"/>
                    <a:pt x="31" y="41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7" y="11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69" y="1"/>
                    <a:pt x="73" y="4"/>
                    <a:pt x="76" y="11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9"/>
                    <a:pt x="90" y="49"/>
                  </a:cubicBezTo>
                  <a:cubicBezTo>
                    <a:pt x="90" y="48"/>
                    <a:pt x="90" y="48"/>
                    <a:pt x="90" y="47"/>
                  </a:cubicBezTo>
                  <a:cubicBezTo>
                    <a:pt x="94" y="35"/>
                    <a:pt x="97" y="23"/>
                    <a:pt x="101" y="10"/>
                  </a:cubicBezTo>
                  <a:cubicBezTo>
                    <a:pt x="103" y="3"/>
                    <a:pt x="106" y="1"/>
                    <a:pt x="113" y="1"/>
                  </a:cubicBezTo>
                  <a:cubicBezTo>
                    <a:pt x="121" y="2"/>
                    <a:pt x="124" y="6"/>
                    <a:pt x="121" y="13"/>
                  </a:cubicBezTo>
                  <a:cubicBezTo>
                    <a:pt x="116" y="30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456DF07A-687E-4C5E-A327-5581E21105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6838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7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6 h 73"/>
                <a:gd name="T22" fmla="*/ 31 w 124"/>
                <a:gd name="T23" fmla="*/ 40 h 73"/>
                <a:gd name="T24" fmla="*/ 33 w 124"/>
                <a:gd name="T25" fmla="*/ 48 h 73"/>
                <a:gd name="T26" fmla="*/ 34 w 124"/>
                <a:gd name="T27" fmla="*/ 49 h 73"/>
                <a:gd name="T28" fmla="*/ 35 w 124"/>
                <a:gd name="T29" fmla="*/ 48 h 73"/>
                <a:gd name="T30" fmla="*/ 47 w 124"/>
                <a:gd name="T31" fmla="*/ 12 h 73"/>
                <a:gd name="T32" fmla="*/ 62 w 124"/>
                <a:gd name="T33" fmla="*/ 1 h 73"/>
                <a:gd name="T34" fmla="*/ 76 w 124"/>
                <a:gd name="T35" fmla="*/ 12 h 73"/>
                <a:gd name="T36" fmla="*/ 89 w 124"/>
                <a:gd name="T37" fmla="*/ 48 h 73"/>
                <a:gd name="T38" fmla="*/ 90 w 124"/>
                <a:gd name="T39" fmla="*/ 49 h 73"/>
                <a:gd name="T40" fmla="*/ 90 w 124"/>
                <a:gd name="T41" fmla="*/ 48 h 73"/>
                <a:gd name="T42" fmla="*/ 101 w 124"/>
                <a:gd name="T43" fmla="*/ 10 h 73"/>
                <a:gd name="T44" fmla="*/ 112 w 124"/>
                <a:gd name="T45" fmla="*/ 1 h 73"/>
                <a:gd name="T46" fmla="*/ 121 w 124"/>
                <a:gd name="T47" fmla="*/ 14 h 73"/>
                <a:gd name="T48" fmla="*/ 104 w 124"/>
                <a:gd name="T49" fmla="*/ 63 h 73"/>
                <a:gd name="T50" fmla="*/ 90 w 124"/>
                <a:gd name="T51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3" y="22"/>
                    <a:pt x="62" y="22"/>
                    <a:pt x="62" y="21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56" y="36"/>
                    <a:pt x="52" y="50"/>
                    <a:pt x="47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9"/>
                    <a:pt x="0" y="5"/>
                    <a:pt x="6" y="2"/>
                  </a:cubicBezTo>
                  <a:cubicBezTo>
                    <a:pt x="12" y="0"/>
                    <a:pt x="19" y="1"/>
                    <a:pt x="21" y="6"/>
                  </a:cubicBezTo>
                  <a:cubicBezTo>
                    <a:pt x="25" y="17"/>
                    <a:pt x="28" y="29"/>
                    <a:pt x="31" y="40"/>
                  </a:cubicBezTo>
                  <a:cubicBezTo>
                    <a:pt x="32" y="42"/>
                    <a:pt x="33" y="45"/>
                    <a:pt x="33" y="48"/>
                  </a:cubicBezTo>
                  <a:cubicBezTo>
                    <a:pt x="33" y="48"/>
                    <a:pt x="34" y="49"/>
                    <a:pt x="34" y="49"/>
                  </a:cubicBezTo>
                  <a:cubicBezTo>
                    <a:pt x="34" y="49"/>
                    <a:pt x="34" y="48"/>
                    <a:pt x="35" y="48"/>
                  </a:cubicBezTo>
                  <a:cubicBezTo>
                    <a:pt x="39" y="36"/>
                    <a:pt x="43" y="24"/>
                    <a:pt x="47" y="12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70" y="1"/>
                    <a:pt x="73" y="4"/>
                    <a:pt x="76" y="12"/>
                  </a:cubicBezTo>
                  <a:cubicBezTo>
                    <a:pt x="81" y="23"/>
                    <a:pt x="85" y="36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94" y="35"/>
                    <a:pt x="98" y="23"/>
                    <a:pt x="101" y="10"/>
                  </a:cubicBezTo>
                  <a:cubicBezTo>
                    <a:pt x="103" y="5"/>
                    <a:pt x="106" y="2"/>
                    <a:pt x="112" y="1"/>
                  </a:cubicBezTo>
                  <a:cubicBezTo>
                    <a:pt x="121" y="1"/>
                    <a:pt x="124" y="6"/>
                    <a:pt x="121" y="14"/>
                  </a:cubicBezTo>
                  <a:cubicBezTo>
                    <a:pt x="116" y="31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A1EFA999-3BA8-4B1E-B6F4-0A44A111E24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1188" y="952500"/>
              <a:ext cx="615950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4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2 h 73"/>
                <a:gd name="T24" fmla="*/ 34 w 124"/>
                <a:gd name="T25" fmla="*/ 49 h 73"/>
                <a:gd name="T26" fmla="*/ 37 w 124"/>
                <a:gd name="T27" fmla="*/ 42 h 73"/>
                <a:gd name="T28" fmla="*/ 48 w 124"/>
                <a:gd name="T29" fmla="*/ 10 h 73"/>
                <a:gd name="T30" fmla="*/ 62 w 124"/>
                <a:gd name="T31" fmla="*/ 1 h 73"/>
                <a:gd name="T32" fmla="*/ 76 w 124"/>
                <a:gd name="T33" fmla="*/ 10 h 73"/>
                <a:gd name="T34" fmla="*/ 89 w 124"/>
                <a:gd name="T35" fmla="*/ 47 h 73"/>
                <a:gd name="T36" fmla="*/ 90 w 124"/>
                <a:gd name="T37" fmla="*/ 49 h 73"/>
                <a:gd name="T38" fmla="*/ 91 w 124"/>
                <a:gd name="T39" fmla="*/ 47 h 73"/>
                <a:gd name="T40" fmla="*/ 101 w 124"/>
                <a:gd name="T41" fmla="*/ 10 h 73"/>
                <a:gd name="T42" fmla="*/ 116 w 124"/>
                <a:gd name="T43" fmla="*/ 2 h 73"/>
                <a:gd name="T44" fmla="*/ 122 w 124"/>
                <a:gd name="T45" fmla="*/ 12 h 73"/>
                <a:gd name="T46" fmla="*/ 104 w 124"/>
                <a:gd name="T47" fmla="*/ 65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4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6"/>
                    <a:pt x="51" y="50"/>
                    <a:pt x="46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7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9"/>
                    <a:pt x="28" y="30"/>
                    <a:pt x="31" y="42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8" y="10"/>
                  </a:cubicBezTo>
                  <a:cubicBezTo>
                    <a:pt x="50" y="3"/>
                    <a:pt x="55" y="1"/>
                    <a:pt x="62" y="1"/>
                  </a:cubicBezTo>
                  <a:cubicBezTo>
                    <a:pt x="69" y="1"/>
                    <a:pt x="73" y="4"/>
                    <a:pt x="76" y="10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8"/>
                    <a:pt x="90" y="48"/>
                    <a:pt x="91" y="47"/>
                  </a:cubicBezTo>
                  <a:cubicBezTo>
                    <a:pt x="94" y="35"/>
                    <a:pt x="98" y="22"/>
                    <a:pt x="101" y="10"/>
                  </a:cubicBezTo>
                  <a:cubicBezTo>
                    <a:pt x="103" y="3"/>
                    <a:pt x="108" y="0"/>
                    <a:pt x="116" y="2"/>
                  </a:cubicBezTo>
                  <a:cubicBezTo>
                    <a:pt x="121" y="3"/>
                    <a:pt x="124" y="7"/>
                    <a:pt x="122" y="12"/>
                  </a:cubicBezTo>
                  <a:cubicBezTo>
                    <a:pt x="116" y="30"/>
                    <a:pt x="110" y="47"/>
                    <a:pt x="104" y="65"/>
                  </a:cubicBezTo>
                  <a:cubicBezTo>
                    <a:pt x="101" y="71"/>
                    <a:pt x="97" y="73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</p:grpSp>
      <p:sp>
        <p:nvSpPr>
          <p:cNvPr id="46" name="TextBox 7">
            <a:extLst>
              <a:ext uri="{FF2B5EF4-FFF2-40B4-BE49-F238E27FC236}">
                <a16:creationId xmlns="" xmlns:a16="http://schemas.microsoft.com/office/drawing/2014/main" id="{AB1D21B3-5EA8-4583-8B39-5C5D45B4127F}"/>
              </a:ext>
            </a:extLst>
          </p:cNvPr>
          <p:cNvSpPr txBox="1"/>
          <p:nvPr userDrawn="1"/>
        </p:nvSpPr>
        <p:spPr bwMode="gray">
          <a:xfrm>
            <a:off x="2622199" y="5403598"/>
            <a:ext cx="1773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twitter.com/giz_gmbh</a:t>
            </a:r>
          </a:p>
        </p:txBody>
      </p:sp>
      <p:sp>
        <p:nvSpPr>
          <p:cNvPr id="47" name="TextBox 7">
            <a:extLst>
              <a:ext uri="{FF2B5EF4-FFF2-40B4-BE49-F238E27FC236}">
                <a16:creationId xmlns="" xmlns:a16="http://schemas.microsoft.com/office/drawing/2014/main" id="{143F2906-482C-48A6-8D87-67C6BCEBAF88}"/>
              </a:ext>
            </a:extLst>
          </p:cNvPr>
          <p:cNvSpPr txBox="1"/>
          <p:nvPr userDrawn="1"/>
        </p:nvSpPr>
        <p:spPr bwMode="gray">
          <a:xfrm>
            <a:off x="5253681" y="5403598"/>
            <a:ext cx="22557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www.facebook.com/gizprofile/</a:t>
            </a:r>
          </a:p>
        </p:txBody>
      </p:sp>
    </p:spTree>
    <p:extLst>
      <p:ext uri="{BB962C8B-B14F-4D97-AF65-F5344CB8AC3E}">
        <p14:creationId xmlns:p14="http://schemas.microsoft.com/office/powerpoint/2010/main" val="196252383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="" xmlns:a16="http://schemas.microsoft.com/office/drawing/2014/main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8" y="165101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="" xmlns:a16="http://schemas.microsoft.com/office/drawing/2014/main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8" y="165101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1059420" y="6583902"/>
            <a:ext cx="533639" cy="92333"/>
          </a:xfrm>
        </p:spPr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>
          <a:xfrm>
            <a:off x="1783025" y="6583904"/>
            <a:ext cx="5839479" cy="92333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49817" y="6583902"/>
            <a:ext cx="450850" cy="92333"/>
          </a:xfrm>
        </p:spPr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42" name="TextBox 7">
            <a:extLst>
              <a:ext uri="{FF2B5EF4-FFF2-40B4-BE49-F238E27FC236}">
                <a16:creationId xmlns="" xmlns:a16="http://schemas.microsoft.com/office/drawing/2014/main" id="{0ACBC6BD-AF1C-4AC3-B989-7C0851FD4A36}"/>
              </a:ext>
            </a:extLst>
          </p:cNvPr>
          <p:cNvSpPr txBox="1"/>
          <p:nvPr userDrawn="1"/>
        </p:nvSpPr>
        <p:spPr bwMode="gray">
          <a:xfrm>
            <a:off x="784637" y="5403598"/>
            <a:ext cx="8386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www.giz.de</a:t>
            </a:r>
          </a:p>
        </p:txBody>
      </p:sp>
      <p:pic>
        <p:nvPicPr>
          <p:cNvPr id="43" name="Grafik 42" descr="Ein Bild, das Axt, Werkzeug enthält.&#10;&#10;Mit sehr hoher Zuverlässigkeit generierte Beschreibung">
            <a:extLst>
              <a:ext uri="{FF2B5EF4-FFF2-40B4-BE49-F238E27FC236}">
                <a16:creationId xmlns="" xmlns:a16="http://schemas.microsoft.com/office/drawing/2014/main" id="{1409F6AC-26EC-4924-85C7-7C52829EA0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273484" y="5442595"/>
            <a:ext cx="290728" cy="315277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="" xmlns:a16="http://schemas.microsoft.com/office/drawing/2014/main" id="{95D9641D-18D8-4757-B59C-824BED8ECD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961178" y="5408251"/>
            <a:ext cx="234516" cy="312685"/>
          </a:xfrm>
          <a:prstGeom prst="rect">
            <a:avLst/>
          </a:prstGeom>
        </p:spPr>
      </p:pic>
      <p:grpSp>
        <p:nvGrpSpPr>
          <p:cNvPr id="45" name="Gruppieren 44">
            <a:extLst>
              <a:ext uri="{FF2B5EF4-FFF2-40B4-BE49-F238E27FC236}">
                <a16:creationId xmlns="" xmlns:a16="http://schemas.microsoft.com/office/drawing/2014/main" id="{5C7EA8DE-E5C0-4542-A14B-2F893BDFC8D1}"/>
              </a:ext>
            </a:extLst>
          </p:cNvPr>
          <p:cNvGrpSpPr/>
          <p:nvPr userDrawn="1"/>
        </p:nvGrpSpPr>
        <p:grpSpPr bwMode="gray">
          <a:xfrm>
            <a:off x="444492" y="5372336"/>
            <a:ext cx="262622" cy="396344"/>
            <a:chOff x="4933951" y="-41275"/>
            <a:chExt cx="2130425" cy="2411413"/>
          </a:xfrm>
        </p:grpSpPr>
        <p:sp>
          <p:nvSpPr>
            <p:cNvPr id="46" name="Freeform 6">
              <a:extLst>
                <a:ext uri="{FF2B5EF4-FFF2-40B4-BE49-F238E27FC236}">
                  <a16:creationId xmlns="" xmlns:a16="http://schemas.microsoft.com/office/drawing/2014/main" id="{05EE60F5-13C7-4FF2-87FA-B42FCFE9CCF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1435100"/>
              <a:ext cx="2114550" cy="935038"/>
            </a:xfrm>
            <a:custGeom>
              <a:avLst/>
              <a:gdLst>
                <a:gd name="T0" fmla="*/ 287 w 425"/>
                <a:gd name="T1" fmla="*/ 25 h 188"/>
                <a:gd name="T2" fmla="*/ 297 w 425"/>
                <a:gd name="T3" fmla="*/ 2 h 188"/>
                <a:gd name="T4" fmla="*/ 325 w 425"/>
                <a:gd name="T5" fmla="*/ 0 h 188"/>
                <a:gd name="T6" fmla="*/ 321 w 425"/>
                <a:gd name="T7" fmla="*/ 23 h 188"/>
                <a:gd name="T8" fmla="*/ 382 w 425"/>
                <a:gd name="T9" fmla="*/ 25 h 188"/>
                <a:gd name="T10" fmla="*/ 394 w 425"/>
                <a:gd name="T11" fmla="*/ 2 h 188"/>
                <a:gd name="T12" fmla="*/ 423 w 425"/>
                <a:gd name="T13" fmla="*/ 0 h 188"/>
                <a:gd name="T14" fmla="*/ 307 w 425"/>
                <a:gd name="T15" fmla="*/ 135 h 188"/>
                <a:gd name="T16" fmla="*/ 0 w 425"/>
                <a:gd name="T17" fmla="*/ 2 h 188"/>
                <a:gd name="T18" fmla="*/ 28 w 425"/>
                <a:gd name="T19" fmla="*/ 0 h 188"/>
                <a:gd name="T20" fmla="*/ 40 w 425"/>
                <a:gd name="T21" fmla="*/ 23 h 188"/>
                <a:gd name="T22" fmla="*/ 101 w 425"/>
                <a:gd name="T23" fmla="*/ 25 h 188"/>
                <a:gd name="T24" fmla="*/ 97 w 425"/>
                <a:gd name="T25" fmla="*/ 3 h 188"/>
                <a:gd name="T26" fmla="*/ 125 w 425"/>
                <a:gd name="T27" fmla="*/ 0 h 188"/>
                <a:gd name="T28" fmla="*/ 134 w 425"/>
                <a:gd name="T29" fmla="*/ 23 h 188"/>
                <a:gd name="T30" fmla="*/ 192 w 425"/>
                <a:gd name="T31" fmla="*/ 25 h 188"/>
                <a:gd name="T32" fmla="*/ 194 w 425"/>
                <a:gd name="T33" fmla="*/ 2 h 188"/>
                <a:gd name="T34" fmla="*/ 221 w 425"/>
                <a:gd name="T35" fmla="*/ 0 h 188"/>
                <a:gd name="T36" fmla="*/ 224 w 425"/>
                <a:gd name="T37" fmla="*/ 23 h 188"/>
                <a:gd name="T38" fmla="*/ 256 w 425"/>
                <a:gd name="T39" fmla="*/ 25 h 188"/>
                <a:gd name="T40" fmla="*/ 362 w 425"/>
                <a:gd name="T41" fmla="*/ 55 h 188"/>
                <a:gd name="T42" fmla="*/ 307 w 425"/>
                <a:gd name="T43" fmla="*/ 56 h 188"/>
                <a:gd name="T44" fmla="*/ 256 w 425"/>
                <a:gd name="T45" fmla="*/ 121 h 188"/>
                <a:gd name="T46" fmla="*/ 363 w 425"/>
                <a:gd name="T47" fmla="*/ 56 h 188"/>
                <a:gd name="T48" fmla="*/ 87 w 425"/>
                <a:gd name="T49" fmla="*/ 55 h 188"/>
                <a:gd name="T50" fmla="*/ 61 w 425"/>
                <a:gd name="T51" fmla="*/ 55 h 188"/>
                <a:gd name="T52" fmla="*/ 155 w 425"/>
                <a:gd name="T53" fmla="*/ 118 h 188"/>
                <a:gd name="T54" fmla="*/ 156 w 425"/>
                <a:gd name="T55" fmla="*/ 117 h 188"/>
                <a:gd name="T56" fmla="*/ 111 w 425"/>
                <a:gd name="T57" fmla="*/ 55 h 188"/>
                <a:gd name="T58" fmla="*/ 224 w 425"/>
                <a:gd name="T59" fmla="*/ 81 h 188"/>
                <a:gd name="T60" fmla="*/ 224 w 425"/>
                <a:gd name="T61" fmla="*/ 108 h 188"/>
                <a:gd name="T62" fmla="*/ 273 w 425"/>
                <a:gd name="T63" fmla="*/ 56 h 188"/>
                <a:gd name="T64" fmla="*/ 225 w 425"/>
                <a:gd name="T65" fmla="*/ 55 h 188"/>
                <a:gd name="T66" fmla="*/ 224 w 425"/>
                <a:gd name="T67" fmla="*/ 81 h 188"/>
                <a:gd name="T68" fmla="*/ 194 w 425"/>
                <a:gd name="T69" fmla="*/ 56 h 188"/>
                <a:gd name="T70" fmla="*/ 148 w 425"/>
                <a:gd name="T71" fmla="*/ 55 h 188"/>
                <a:gd name="T72" fmla="*/ 192 w 425"/>
                <a:gd name="T73" fmla="*/ 109 h 188"/>
                <a:gd name="T74" fmla="*/ 194 w 425"/>
                <a:gd name="T75" fmla="*/ 10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5" h="188">
                  <a:moveTo>
                    <a:pt x="256" y="25"/>
                  </a:moveTo>
                  <a:cubicBezTo>
                    <a:pt x="267" y="25"/>
                    <a:pt x="277" y="25"/>
                    <a:pt x="287" y="25"/>
                  </a:cubicBezTo>
                  <a:cubicBezTo>
                    <a:pt x="288" y="25"/>
                    <a:pt x="290" y="24"/>
                    <a:pt x="290" y="23"/>
                  </a:cubicBezTo>
                  <a:cubicBezTo>
                    <a:pt x="292" y="16"/>
                    <a:pt x="294" y="9"/>
                    <a:pt x="297" y="2"/>
                  </a:cubicBezTo>
                  <a:cubicBezTo>
                    <a:pt x="297" y="2"/>
                    <a:pt x="298" y="0"/>
                    <a:pt x="299" y="0"/>
                  </a:cubicBezTo>
                  <a:cubicBezTo>
                    <a:pt x="308" y="0"/>
                    <a:pt x="316" y="0"/>
                    <a:pt x="325" y="0"/>
                  </a:cubicBezTo>
                  <a:cubicBezTo>
                    <a:pt x="326" y="0"/>
                    <a:pt x="327" y="2"/>
                    <a:pt x="326" y="2"/>
                  </a:cubicBezTo>
                  <a:cubicBezTo>
                    <a:pt x="325" y="9"/>
                    <a:pt x="323" y="16"/>
                    <a:pt x="321" y="23"/>
                  </a:cubicBezTo>
                  <a:cubicBezTo>
                    <a:pt x="321" y="23"/>
                    <a:pt x="322" y="25"/>
                    <a:pt x="322" y="25"/>
                  </a:cubicBezTo>
                  <a:cubicBezTo>
                    <a:pt x="342" y="25"/>
                    <a:pt x="362" y="25"/>
                    <a:pt x="382" y="25"/>
                  </a:cubicBezTo>
                  <a:cubicBezTo>
                    <a:pt x="383" y="25"/>
                    <a:pt x="384" y="24"/>
                    <a:pt x="384" y="23"/>
                  </a:cubicBezTo>
                  <a:cubicBezTo>
                    <a:pt x="388" y="16"/>
                    <a:pt x="391" y="9"/>
                    <a:pt x="394" y="2"/>
                  </a:cubicBezTo>
                  <a:cubicBezTo>
                    <a:pt x="394" y="1"/>
                    <a:pt x="395" y="0"/>
                    <a:pt x="396" y="0"/>
                  </a:cubicBezTo>
                  <a:cubicBezTo>
                    <a:pt x="405" y="0"/>
                    <a:pt x="414" y="0"/>
                    <a:pt x="423" y="0"/>
                  </a:cubicBezTo>
                  <a:cubicBezTo>
                    <a:pt x="424" y="0"/>
                    <a:pt x="425" y="2"/>
                    <a:pt x="425" y="3"/>
                  </a:cubicBezTo>
                  <a:cubicBezTo>
                    <a:pt x="405" y="64"/>
                    <a:pt x="365" y="108"/>
                    <a:pt x="307" y="135"/>
                  </a:cubicBezTo>
                  <a:cubicBezTo>
                    <a:pt x="195" y="188"/>
                    <a:pt x="60" y="139"/>
                    <a:pt x="10" y="28"/>
                  </a:cubicBezTo>
                  <a:cubicBezTo>
                    <a:pt x="6" y="20"/>
                    <a:pt x="3" y="11"/>
                    <a:pt x="0" y="2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10" y="0"/>
                    <a:pt x="19" y="0"/>
                    <a:pt x="28" y="0"/>
                  </a:cubicBezTo>
                  <a:cubicBezTo>
                    <a:pt x="29" y="0"/>
                    <a:pt x="30" y="1"/>
                    <a:pt x="31" y="2"/>
                  </a:cubicBezTo>
                  <a:cubicBezTo>
                    <a:pt x="34" y="9"/>
                    <a:pt x="37" y="16"/>
                    <a:pt x="40" y="23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62" y="25"/>
                    <a:pt x="81" y="25"/>
                    <a:pt x="101" y="25"/>
                  </a:cubicBezTo>
                  <a:cubicBezTo>
                    <a:pt x="101" y="25"/>
                    <a:pt x="102" y="23"/>
                    <a:pt x="102" y="23"/>
                  </a:cubicBezTo>
                  <a:cubicBezTo>
                    <a:pt x="101" y="16"/>
                    <a:pt x="99" y="9"/>
                    <a:pt x="97" y="3"/>
                  </a:cubicBezTo>
                  <a:cubicBezTo>
                    <a:pt x="97" y="2"/>
                    <a:pt x="98" y="0"/>
                    <a:pt x="99" y="0"/>
                  </a:cubicBezTo>
                  <a:cubicBezTo>
                    <a:pt x="108" y="0"/>
                    <a:pt x="116" y="0"/>
                    <a:pt x="125" y="0"/>
                  </a:cubicBezTo>
                  <a:cubicBezTo>
                    <a:pt x="126" y="0"/>
                    <a:pt x="127" y="1"/>
                    <a:pt x="127" y="2"/>
                  </a:cubicBezTo>
                  <a:cubicBezTo>
                    <a:pt x="130" y="9"/>
                    <a:pt x="131" y="16"/>
                    <a:pt x="134" y="23"/>
                  </a:cubicBezTo>
                  <a:cubicBezTo>
                    <a:pt x="134" y="24"/>
                    <a:pt x="135" y="25"/>
                    <a:pt x="136" y="25"/>
                  </a:cubicBezTo>
                  <a:cubicBezTo>
                    <a:pt x="155" y="25"/>
                    <a:pt x="173" y="25"/>
                    <a:pt x="192" y="25"/>
                  </a:cubicBezTo>
                  <a:cubicBezTo>
                    <a:pt x="193" y="25"/>
                    <a:pt x="194" y="24"/>
                    <a:pt x="194" y="23"/>
                  </a:cubicBezTo>
                  <a:cubicBezTo>
                    <a:pt x="194" y="16"/>
                    <a:pt x="194" y="9"/>
                    <a:pt x="194" y="2"/>
                  </a:cubicBezTo>
                  <a:cubicBezTo>
                    <a:pt x="194" y="2"/>
                    <a:pt x="195" y="0"/>
                    <a:pt x="196" y="0"/>
                  </a:cubicBezTo>
                  <a:cubicBezTo>
                    <a:pt x="205" y="0"/>
                    <a:pt x="213" y="0"/>
                    <a:pt x="221" y="0"/>
                  </a:cubicBezTo>
                  <a:cubicBezTo>
                    <a:pt x="222" y="0"/>
                    <a:pt x="223" y="2"/>
                    <a:pt x="223" y="3"/>
                  </a:cubicBezTo>
                  <a:cubicBezTo>
                    <a:pt x="224" y="9"/>
                    <a:pt x="223" y="16"/>
                    <a:pt x="224" y="23"/>
                  </a:cubicBezTo>
                  <a:cubicBezTo>
                    <a:pt x="224" y="23"/>
                    <a:pt x="225" y="25"/>
                    <a:pt x="226" y="25"/>
                  </a:cubicBezTo>
                  <a:cubicBezTo>
                    <a:pt x="236" y="25"/>
                    <a:pt x="246" y="25"/>
                    <a:pt x="256" y="25"/>
                  </a:cubicBezTo>
                  <a:close/>
                  <a:moveTo>
                    <a:pt x="364" y="55"/>
                  </a:moveTo>
                  <a:cubicBezTo>
                    <a:pt x="363" y="55"/>
                    <a:pt x="363" y="55"/>
                    <a:pt x="362" y="55"/>
                  </a:cubicBezTo>
                  <a:cubicBezTo>
                    <a:pt x="345" y="55"/>
                    <a:pt x="328" y="54"/>
                    <a:pt x="311" y="55"/>
                  </a:cubicBezTo>
                  <a:cubicBezTo>
                    <a:pt x="310" y="55"/>
                    <a:pt x="308" y="56"/>
                    <a:pt x="307" y="56"/>
                  </a:cubicBezTo>
                  <a:cubicBezTo>
                    <a:pt x="295" y="81"/>
                    <a:pt x="279" y="103"/>
                    <a:pt x="257" y="120"/>
                  </a:cubicBezTo>
                  <a:cubicBezTo>
                    <a:pt x="257" y="121"/>
                    <a:pt x="257" y="121"/>
                    <a:pt x="256" y="121"/>
                  </a:cubicBezTo>
                  <a:cubicBezTo>
                    <a:pt x="257" y="122"/>
                    <a:pt x="257" y="122"/>
                    <a:pt x="258" y="122"/>
                  </a:cubicBezTo>
                  <a:cubicBezTo>
                    <a:pt x="300" y="111"/>
                    <a:pt x="335" y="90"/>
                    <a:pt x="363" y="56"/>
                  </a:cubicBezTo>
                  <a:cubicBezTo>
                    <a:pt x="363" y="56"/>
                    <a:pt x="364" y="55"/>
                    <a:pt x="364" y="55"/>
                  </a:cubicBezTo>
                  <a:close/>
                  <a:moveTo>
                    <a:pt x="87" y="55"/>
                  </a:moveTo>
                  <a:cubicBezTo>
                    <a:pt x="79" y="55"/>
                    <a:pt x="71" y="54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5"/>
                    <a:pt x="61" y="56"/>
                    <a:pt x="62" y="56"/>
                  </a:cubicBezTo>
                  <a:cubicBezTo>
                    <a:pt x="86" y="86"/>
                    <a:pt x="118" y="107"/>
                    <a:pt x="155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8"/>
                    <a:pt x="156" y="118"/>
                    <a:pt x="156" y="117"/>
                  </a:cubicBezTo>
                  <a:cubicBezTo>
                    <a:pt x="137" y="100"/>
                    <a:pt x="124" y="79"/>
                    <a:pt x="114" y="56"/>
                  </a:cubicBezTo>
                  <a:cubicBezTo>
                    <a:pt x="114" y="55"/>
                    <a:pt x="112" y="55"/>
                    <a:pt x="111" y="55"/>
                  </a:cubicBezTo>
                  <a:cubicBezTo>
                    <a:pt x="103" y="54"/>
                    <a:pt x="95" y="55"/>
                    <a:pt x="87" y="55"/>
                  </a:cubicBezTo>
                  <a:close/>
                  <a:moveTo>
                    <a:pt x="224" y="81"/>
                  </a:moveTo>
                  <a:cubicBezTo>
                    <a:pt x="224" y="89"/>
                    <a:pt x="224" y="98"/>
                    <a:pt x="224" y="106"/>
                  </a:cubicBezTo>
                  <a:cubicBezTo>
                    <a:pt x="224" y="107"/>
                    <a:pt x="224" y="107"/>
                    <a:pt x="224" y="108"/>
                  </a:cubicBezTo>
                  <a:cubicBezTo>
                    <a:pt x="224" y="108"/>
                    <a:pt x="225" y="107"/>
                    <a:pt x="226" y="107"/>
                  </a:cubicBezTo>
                  <a:cubicBezTo>
                    <a:pt x="246" y="94"/>
                    <a:pt x="261" y="76"/>
                    <a:pt x="273" y="56"/>
                  </a:cubicBezTo>
                  <a:cubicBezTo>
                    <a:pt x="274" y="56"/>
                    <a:pt x="273" y="55"/>
                    <a:pt x="272" y="55"/>
                  </a:cubicBezTo>
                  <a:cubicBezTo>
                    <a:pt x="257" y="54"/>
                    <a:pt x="241" y="54"/>
                    <a:pt x="225" y="55"/>
                  </a:cubicBezTo>
                  <a:cubicBezTo>
                    <a:pt x="225" y="55"/>
                    <a:pt x="224" y="56"/>
                    <a:pt x="224" y="56"/>
                  </a:cubicBezTo>
                  <a:cubicBezTo>
                    <a:pt x="224" y="65"/>
                    <a:pt x="224" y="73"/>
                    <a:pt x="224" y="81"/>
                  </a:cubicBezTo>
                  <a:close/>
                  <a:moveTo>
                    <a:pt x="194" y="82"/>
                  </a:moveTo>
                  <a:cubicBezTo>
                    <a:pt x="194" y="73"/>
                    <a:pt x="194" y="65"/>
                    <a:pt x="194" y="56"/>
                  </a:cubicBezTo>
                  <a:cubicBezTo>
                    <a:pt x="194" y="56"/>
                    <a:pt x="193" y="55"/>
                    <a:pt x="192" y="55"/>
                  </a:cubicBezTo>
                  <a:cubicBezTo>
                    <a:pt x="178" y="54"/>
                    <a:pt x="163" y="54"/>
                    <a:pt x="148" y="55"/>
                  </a:cubicBezTo>
                  <a:cubicBezTo>
                    <a:pt x="148" y="55"/>
                    <a:pt x="147" y="56"/>
                    <a:pt x="147" y="56"/>
                  </a:cubicBezTo>
                  <a:cubicBezTo>
                    <a:pt x="158" y="77"/>
                    <a:pt x="172" y="95"/>
                    <a:pt x="192" y="109"/>
                  </a:cubicBezTo>
                  <a:cubicBezTo>
                    <a:pt x="193" y="109"/>
                    <a:pt x="193" y="109"/>
                    <a:pt x="194" y="109"/>
                  </a:cubicBezTo>
                  <a:cubicBezTo>
                    <a:pt x="194" y="109"/>
                    <a:pt x="194" y="108"/>
                    <a:pt x="194" y="108"/>
                  </a:cubicBezTo>
                  <a:cubicBezTo>
                    <a:pt x="194" y="99"/>
                    <a:pt x="194" y="91"/>
                    <a:pt x="19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="" xmlns:a16="http://schemas.microsoft.com/office/drawing/2014/main" id="{BAA2DC66-D523-4725-9384-AA70E4C61D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-41275"/>
              <a:ext cx="2108200" cy="860425"/>
            </a:xfrm>
            <a:custGeom>
              <a:avLst/>
              <a:gdLst>
                <a:gd name="T0" fmla="*/ 45 w 424"/>
                <a:gd name="T1" fmla="*/ 148 h 173"/>
                <a:gd name="T2" fmla="*/ 32 w 424"/>
                <a:gd name="T3" fmla="*/ 170 h 173"/>
                <a:gd name="T4" fmla="*/ 3 w 424"/>
                <a:gd name="T5" fmla="*/ 173 h 173"/>
                <a:gd name="T6" fmla="*/ 155 w 424"/>
                <a:gd name="T7" fmla="*/ 28 h 173"/>
                <a:gd name="T8" fmla="*/ 424 w 424"/>
                <a:gd name="T9" fmla="*/ 171 h 173"/>
                <a:gd name="T10" fmla="*/ 395 w 424"/>
                <a:gd name="T11" fmla="*/ 173 h 173"/>
                <a:gd name="T12" fmla="*/ 382 w 424"/>
                <a:gd name="T13" fmla="*/ 149 h 173"/>
                <a:gd name="T14" fmla="*/ 321 w 424"/>
                <a:gd name="T15" fmla="*/ 148 h 173"/>
                <a:gd name="T16" fmla="*/ 325 w 424"/>
                <a:gd name="T17" fmla="*/ 171 h 173"/>
                <a:gd name="T18" fmla="*/ 297 w 424"/>
                <a:gd name="T19" fmla="*/ 173 h 173"/>
                <a:gd name="T20" fmla="*/ 287 w 424"/>
                <a:gd name="T21" fmla="*/ 149 h 173"/>
                <a:gd name="T22" fmla="*/ 225 w 424"/>
                <a:gd name="T23" fmla="*/ 148 h 173"/>
                <a:gd name="T24" fmla="*/ 223 w 424"/>
                <a:gd name="T25" fmla="*/ 170 h 173"/>
                <a:gd name="T26" fmla="*/ 196 w 424"/>
                <a:gd name="T27" fmla="*/ 173 h 173"/>
                <a:gd name="T28" fmla="*/ 194 w 424"/>
                <a:gd name="T29" fmla="*/ 150 h 173"/>
                <a:gd name="T30" fmla="*/ 137 w 424"/>
                <a:gd name="T31" fmla="*/ 148 h 173"/>
                <a:gd name="T32" fmla="*/ 128 w 424"/>
                <a:gd name="T33" fmla="*/ 171 h 173"/>
                <a:gd name="T34" fmla="*/ 99 w 424"/>
                <a:gd name="T35" fmla="*/ 173 h 173"/>
                <a:gd name="T36" fmla="*/ 103 w 424"/>
                <a:gd name="T37" fmla="*/ 150 h 173"/>
                <a:gd name="T38" fmla="*/ 73 w 424"/>
                <a:gd name="T39" fmla="*/ 148 h 173"/>
                <a:gd name="T40" fmla="*/ 359 w 424"/>
                <a:gd name="T41" fmla="*/ 118 h 173"/>
                <a:gd name="T42" fmla="*/ 360 w 424"/>
                <a:gd name="T43" fmla="*/ 116 h 173"/>
                <a:gd name="T44" fmla="*/ 258 w 424"/>
                <a:gd name="T45" fmla="*/ 56 h 173"/>
                <a:gd name="T46" fmla="*/ 305 w 424"/>
                <a:gd name="T47" fmla="*/ 116 h 173"/>
                <a:gd name="T48" fmla="*/ 333 w 424"/>
                <a:gd name="T49" fmla="*/ 118 h 173"/>
                <a:gd name="T50" fmla="*/ 113 w 424"/>
                <a:gd name="T51" fmla="*/ 118 h 173"/>
                <a:gd name="T52" fmla="*/ 157 w 424"/>
                <a:gd name="T53" fmla="*/ 59 h 173"/>
                <a:gd name="T54" fmla="*/ 157 w 424"/>
                <a:gd name="T55" fmla="*/ 58 h 173"/>
                <a:gd name="T56" fmla="*/ 64 w 424"/>
                <a:gd name="T57" fmla="*/ 118 h 173"/>
                <a:gd name="T58" fmla="*/ 90 w 424"/>
                <a:gd name="T59" fmla="*/ 118 h 173"/>
                <a:gd name="T60" fmla="*/ 269 w 424"/>
                <a:gd name="T61" fmla="*/ 118 h 173"/>
                <a:gd name="T62" fmla="*/ 225 w 424"/>
                <a:gd name="T63" fmla="*/ 68 h 173"/>
                <a:gd name="T64" fmla="*/ 224 w 424"/>
                <a:gd name="T65" fmla="*/ 69 h 173"/>
                <a:gd name="T66" fmla="*/ 225 w 424"/>
                <a:gd name="T67" fmla="*/ 118 h 173"/>
                <a:gd name="T68" fmla="*/ 194 w 424"/>
                <a:gd name="T69" fmla="*/ 93 h 173"/>
                <a:gd name="T70" fmla="*/ 194 w 424"/>
                <a:gd name="T71" fmla="*/ 68 h 173"/>
                <a:gd name="T72" fmla="*/ 150 w 424"/>
                <a:gd name="T73" fmla="*/ 116 h 173"/>
                <a:gd name="T74" fmla="*/ 192 w 424"/>
                <a:gd name="T75" fmla="*/ 118 h 173"/>
                <a:gd name="T76" fmla="*/ 194 w 424"/>
                <a:gd name="T77" fmla="*/ 9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4" h="173">
                  <a:moveTo>
                    <a:pt x="73" y="148"/>
                  </a:moveTo>
                  <a:cubicBezTo>
                    <a:pt x="64" y="148"/>
                    <a:pt x="55" y="148"/>
                    <a:pt x="45" y="148"/>
                  </a:cubicBezTo>
                  <a:cubicBezTo>
                    <a:pt x="44" y="148"/>
                    <a:pt x="43" y="149"/>
                    <a:pt x="42" y="149"/>
                  </a:cubicBezTo>
                  <a:cubicBezTo>
                    <a:pt x="39" y="156"/>
                    <a:pt x="36" y="164"/>
                    <a:pt x="32" y="170"/>
                  </a:cubicBezTo>
                  <a:cubicBezTo>
                    <a:pt x="32" y="171"/>
                    <a:pt x="30" y="173"/>
                    <a:pt x="29" y="173"/>
                  </a:cubicBezTo>
                  <a:cubicBezTo>
                    <a:pt x="21" y="173"/>
                    <a:pt x="12" y="173"/>
                    <a:pt x="3" y="173"/>
                  </a:cubicBezTo>
                  <a:cubicBezTo>
                    <a:pt x="1" y="173"/>
                    <a:pt x="0" y="172"/>
                    <a:pt x="1" y="170"/>
                  </a:cubicBezTo>
                  <a:cubicBezTo>
                    <a:pt x="28" y="96"/>
                    <a:pt x="80" y="48"/>
                    <a:pt x="155" y="28"/>
                  </a:cubicBezTo>
                  <a:cubicBezTo>
                    <a:pt x="258" y="0"/>
                    <a:pt x="366" y="50"/>
                    <a:pt x="413" y="144"/>
                  </a:cubicBezTo>
                  <a:cubicBezTo>
                    <a:pt x="417" y="153"/>
                    <a:pt x="420" y="162"/>
                    <a:pt x="424" y="171"/>
                  </a:cubicBezTo>
                  <a:cubicBezTo>
                    <a:pt x="424" y="171"/>
                    <a:pt x="423" y="173"/>
                    <a:pt x="422" y="173"/>
                  </a:cubicBezTo>
                  <a:cubicBezTo>
                    <a:pt x="413" y="173"/>
                    <a:pt x="404" y="173"/>
                    <a:pt x="395" y="173"/>
                  </a:cubicBezTo>
                  <a:cubicBezTo>
                    <a:pt x="394" y="173"/>
                    <a:pt x="393" y="172"/>
                    <a:pt x="392" y="171"/>
                  </a:cubicBezTo>
                  <a:cubicBezTo>
                    <a:pt x="389" y="164"/>
                    <a:pt x="386" y="156"/>
                    <a:pt x="382" y="149"/>
                  </a:cubicBezTo>
                  <a:cubicBezTo>
                    <a:pt x="382" y="148"/>
                    <a:pt x="381" y="148"/>
                    <a:pt x="380" y="148"/>
                  </a:cubicBezTo>
                  <a:cubicBezTo>
                    <a:pt x="360" y="148"/>
                    <a:pt x="340" y="148"/>
                    <a:pt x="321" y="148"/>
                  </a:cubicBezTo>
                  <a:cubicBezTo>
                    <a:pt x="320" y="148"/>
                    <a:pt x="319" y="149"/>
                    <a:pt x="319" y="150"/>
                  </a:cubicBezTo>
                  <a:cubicBezTo>
                    <a:pt x="321" y="157"/>
                    <a:pt x="323" y="164"/>
                    <a:pt x="325" y="171"/>
                  </a:cubicBezTo>
                  <a:cubicBezTo>
                    <a:pt x="325" y="171"/>
                    <a:pt x="325" y="173"/>
                    <a:pt x="324" y="173"/>
                  </a:cubicBezTo>
                  <a:cubicBezTo>
                    <a:pt x="315" y="173"/>
                    <a:pt x="306" y="173"/>
                    <a:pt x="297" y="173"/>
                  </a:cubicBezTo>
                  <a:cubicBezTo>
                    <a:pt x="296" y="173"/>
                    <a:pt x="295" y="172"/>
                    <a:pt x="295" y="171"/>
                  </a:cubicBezTo>
                  <a:cubicBezTo>
                    <a:pt x="292" y="164"/>
                    <a:pt x="290" y="156"/>
                    <a:pt x="287" y="149"/>
                  </a:cubicBezTo>
                  <a:cubicBezTo>
                    <a:pt x="287" y="148"/>
                    <a:pt x="286" y="148"/>
                    <a:pt x="285" y="148"/>
                  </a:cubicBezTo>
                  <a:cubicBezTo>
                    <a:pt x="265" y="148"/>
                    <a:pt x="245" y="148"/>
                    <a:pt x="225" y="148"/>
                  </a:cubicBezTo>
                  <a:cubicBezTo>
                    <a:pt x="225" y="148"/>
                    <a:pt x="224" y="149"/>
                    <a:pt x="224" y="150"/>
                  </a:cubicBezTo>
                  <a:cubicBezTo>
                    <a:pt x="223" y="156"/>
                    <a:pt x="224" y="163"/>
                    <a:pt x="223" y="170"/>
                  </a:cubicBezTo>
                  <a:cubicBezTo>
                    <a:pt x="223" y="171"/>
                    <a:pt x="222" y="173"/>
                    <a:pt x="221" y="173"/>
                  </a:cubicBezTo>
                  <a:cubicBezTo>
                    <a:pt x="213" y="173"/>
                    <a:pt x="205" y="173"/>
                    <a:pt x="196" y="173"/>
                  </a:cubicBezTo>
                  <a:cubicBezTo>
                    <a:pt x="195" y="173"/>
                    <a:pt x="194" y="171"/>
                    <a:pt x="194" y="170"/>
                  </a:cubicBezTo>
                  <a:cubicBezTo>
                    <a:pt x="194" y="164"/>
                    <a:pt x="194" y="157"/>
                    <a:pt x="194" y="150"/>
                  </a:cubicBezTo>
                  <a:cubicBezTo>
                    <a:pt x="194" y="149"/>
                    <a:pt x="193" y="148"/>
                    <a:pt x="192" y="148"/>
                  </a:cubicBezTo>
                  <a:cubicBezTo>
                    <a:pt x="174" y="148"/>
                    <a:pt x="156" y="148"/>
                    <a:pt x="137" y="148"/>
                  </a:cubicBezTo>
                  <a:cubicBezTo>
                    <a:pt x="137" y="148"/>
                    <a:pt x="135" y="149"/>
                    <a:pt x="135" y="149"/>
                  </a:cubicBezTo>
                  <a:cubicBezTo>
                    <a:pt x="133" y="156"/>
                    <a:pt x="131" y="164"/>
                    <a:pt x="128" y="171"/>
                  </a:cubicBezTo>
                  <a:cubicBezTo>
                    <a:pt x="128" y="172"/>
                    <a:pt x="127" y="173"/>
                    <a:pt x="126" y="173"/>
                  </a:cubicBezTo>
                  <a:cubicBezTo>
                    <a:pt x="117" y="173"/>
                    <a:pt x="108" y="173"/>
                    <a:pt x="99" y="173"/>
                  </a:cubicBezTo>
                  <a:cubicBezTo>
                    <a:pt x="99" y="173"/>
                    <a:pt x="98" y="171"/>
                    <a:pt x="98" y="171"/>
                  </a:cubicBezTo>
                  <a:cubicBezTo>
                    <a:pt x="100" y="164"/>
                    <a:pt x="101" y="157"/>
                    <a:pt x="103" y="150"/>
                  </a:cubicBezTo>
                  <a:cubicBezTo>
                    <a:pt x="103" y="149"/>
                    <a:pt x="102" y="148"/>
                    <a:pt x="102" y="148"/>
                  </a:cubicBezTo>
                  <a:cubicBezTo>
                    <a:pt x="92" y="148"/>
                    <a:pt x="83" y="148"/>
                    <a:pt x="73" y="148"/>
                  </a:cubicBezTo>
                  <a:close/>
                  <a:moveTo>
                    <a:pt x="333" y="118"/>
                  </a:moveTo>
                  <a:cubicBezTo>
                    <a:pt x="342" y="118"/>
                    <a:pt x="350" y="118"/>
                    <a:pt x="359" y="118"/>
                  </a:cubicBezTo>
                  <a:cubicBezTo>
                    <a:pt x="359" y="118"/>
                    <a:pt x="360" y="118"/>
                    <a:pt x="360" y="118"/>
                  </a:cubicBezTo>
                  <a:cubicBezTo>
                    <a:pt x="360" y="117"/>
                    <a:pt x="360" y="117"/>
                    <a:pt x="360" y="116"/>
                  </a:cubicBezTo>
                  <a:cubicBezTo>
                    <a:pt x="332" y="86"/>
                    <a:pt x="299" y="66"/>
                    <a:pt x="259" y="56"/>
                  </a:cubicBezTo>
                  <a:cubicBezTo>
                    <a:pt x="259" y="56"/>
                    <a:pt x="258" y="56"/>
                    <a:pt x="258" y="56"/>
                  </a:cubicBezTo>
                  <a:cubicBezTo>
                    <a:pt x="258" y="56"/>
                    <a:pt x="258" y="57"/>
                    <a:pt x="259" y="57"/>
                  </a:cubicBezTo>
                  <a:cubicBezTo>
                    <a:pt x="278" y="74"/>
                    <a:pt x="293" y="94"/>
                    <a:pt x="305" y="116"/>
                  </a:cubicBezTo>
                  <a:cubicBezTo>
                    <a:pt x="305" y="117"/>
                    <a:pt x="307" y="118"/>
                    <a:pt x="308" y="118"/>
                  </a:cubicBezTo>
                  <a:cubicBezTo>
                    <a:pt x="316" y="118"/>
                    <a:pt x="325" y="118"/>
                    <a:pt x="333" y="118"/>
                  </a:cubicBezTo>
                  <a:close/>
                  <a:moveTo>
                    <a:pt x="90" y="118"/>
                  </a:moveTo>
                  <a:cubicBezTo>
                    <a:pt x="98" y="118"/>
                    <a:pt x="106" y="118"/>
                    <a:pt x="113" y="118"/>
                  </a:cubicBezTo>
                  <a:cubicBezTo>
                    <a:pt x="114" y="118"/>
                    <a:pt x="116" y="117"/>
                    <a:pt x="116" y="116"/>
                  </a:cubicBezTo>
                  <a:cubicBezTo>
                    <a:pt x="127" y="95"/>
                    <a:pt x="140" y="76"/>
                    <a:pt x="157" y="59"/>
                  </a:cubicBezTo>
                  <a:cubicBezTo>
                    <a:pt x="158" y="59"/>
                    <a:pt x="158" y="58"/>
                    <a:pt x="158" y="58"/>
                  </a:cubicBezTo>
                  <a:cubicBezTo>
                    <a:pt x="158" y="58"/>
                    <a:pt x="157" y="58"/>
                    <a:pt x="157" y="58"/>
                  </a:cubicBezTo>
                  <a:cubicBezTo>
                    <a:pt x="121" y="69"/>
                    <a:pt x="90" y="88"/>
                    <a:pt x="65" y="116"/>
                  </a:cubicBezTo>
                  <a:cubicBezTo>
                    <a:pt x="65" y="117"/>
                    <a:pt x="65" y="117"/>
                    <a:pt x="64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74" y="118"/>
                    <a:pt x="82" y="118"/>
                    <a:pt x="90" y="118"/>
                  </a:cubicBezTo>
                  <a:close/>
                  <a:moveTo>
                    <a:pt x="247" y="118"/>
                  </a:moveTo>
                  <a:cubicBezTo>
                    <a:pt x="255" y="118"/>
                    <a:pt x="262" y="118"/>
                    <a:pt x="269" y="118"/>
                  </a:cubicBezTo>
                  <a:cubicBezTo>
                    <a:pt x="270" y="118"/>
                    <a:pt x="270" y="117"/>
                    <a:pt x="270" y="116"/>
                  </a:cubicBezTo>
                  <a:cubicBezTo>
                    <a:pt x="258" y="98"/>
                    <a:pt x="244" y="81"/>
                    <a:pt x="225" y="68"/>
                  </a:cubicBezTo>
                  <a:cubicBezTo>
                    <a:pt x="225" y="68"/>
                    <a:pt x="224" y="68"/>
                    <a:pt x="224" y="67"/>
                  </a:cubicBezTo>
                  <a:cubicBezTo>
                    <a:pt x="224" y="68"/>
                    <a:pt x="224" y="69"/>
                    <a:pt x="224" y="69"/>
                  </a:cubicBezTo>
                  <a:cubicBezTo>
                    <a:pt x="224" y="85"/>
                    <a:pt x="224" y="100"/>
                    <a:pt x="224" y="116"/>
                  </a:cubicBezTo>
                  <a:cubicBezTo>
                    <a:pt x="224" y="117"/>
                    <a:pt x="225" y="118"/>
                    <a:pt x="225" y="118"/>
                  </a:cubicBezTo>
                  <a:cubicBezTo>
                    <a:pt x="233" y="118"/>
                    <a:pt x="240" y="118"/>
                    <a:pt x="247" y="118"/>
                  </a:cubicBezTo>
                  <a:close/>
                  <a:moveTo>
                    <a:pt x="194" y="93"/>
                  </a:moveTo>
                  <a:cubicBezTo>
                    <a:pt x="194" y="85"/>
                    <a:pt x="194" y="78"/>
                    <a:pt x="194" y="70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3" y="68"/>
                    <a:pt x="192" y="68"/>
                    <a:pt x="192" y="69"/>
                  </a:cubicBezTo>
                  <a:cubicBezTo>
                    <a:pt x="175" y="82"/>
                    <a:pt x="161" y="98"/>
                    <a:pt x="150" y="116"/>
                  </a:cubicBezTo>
                  <a:cubicBezTo>
                    <a:pt x="150" y="117"/>
                    <a:pt x="151" y="118"/>
                    <a:pt x="151" y="118"/>
                  </a:cubicBezTo>
                  <a:cubicBezTo>
                    <a:pt x="165" y="118"/>
                    <a:pt x="179" y="118"/>
                    <a:pt x="192" y="118"/>
                  </a:cubicBezTo>
                  <a:cubicBezTo>
                    <a:pt x="193" y="118"/>
                    <a:pt x="194" y="117"/>
                    <a:pt x="194" y="116"/>
                  </a:cubicBezTo>
                  <a:cubicBezTo>
                    <a:pt x="194" y="108"/>
                    <a:pt x="194" y="101"/>
                    <a:pt x="194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="" xmlns:a16="http://schemas.microsoft.com/office/drawing/2014/main" id="{575115B3-4C7D-4A6F-93E9-3A63D5591B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3951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4 h 73"/>
                <a:gd name="T12" fmla="*/ 32 w 124"/>
                <a:gd name="T13" fmla="*/ 73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1 h 73"/>
                <a:gd name="T24" fmla="*/ 34 w 124"/>
                <a:gd name="T25" fmla="*/ 49 h 73"/>
                <a:gd name="T26" fmla="*/ 37 w 124"/>
                <a:gd name="T27" fmla="*/ 42 h 73"/>
                <a:gd name="T28" fmla="*/ 47 w 124"/>
                <a:gd name="T29" fmla="*/ 11 h 73"/>
                <a:gd name="T30" fmla="*/ 62 w 124"/>
                <a:gd name="T31" fmla="*/ 1 h 73"/>
                <a:gd name="T32" fmla="*/ 76 w 124"/>
                <a:gd name="T33" fmla="*/ 11 h 73"/>
                <a:gd name="T34" fmla="*/ 89 w 124"/>
                <a:gd name="T35" fmla="*/ 47 h 73"/>
                <a:gd name="T36" fmla="*/ 90 w 124"/>
                <a:gd name="T37" fmla="*/ 49 h 73"/>
                <a:gd name="T38" fmla="*/ 90 w 124"/>
                <a:gd name="T39" fmla="*/ 47 h 73"/>
                <a:gd name="T40" fmla="*/ 101 w 124"/>
                <a:gd name="T41" fmla="*/ 10 h 73"/>
                <a:gd name="T42" fmla="*/ 113 w 124"/>
                <a:gd name="T43" fmla="*/ 1 h 73"/>
                <a:gd name="T44" fmla="*/ 121 w 124"/>
                <a:gd name="T45" fmla="*/ 13 h 73"/>
                <a:gd name="T46" fmla="*/ 104 w 124"/>
                <a:gd name="T47" fmla="*/ 63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7" y="37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7"/>
                    <a:pt x="51" y="50"/>
                    <a:pt x="46" y="64"/>
                  </a:cubicBezTo>
                  <a:cubicBezTo>
                    <a:pt x="44" y="70"/>
                    <a:pt x="40" y="73"/>
                    <a:pt x="32" y="73"/>
                  </a:cubicBezTo>
                  <a:cubicBezTo>
                    <a:pt x="25" y="72"/>
                    <a:pt x="21" y="69"/>
                    <a:pt x="19" y="63"/>
                  </a:cubicBezTo>
                  <a:cubicBezTo>
                    <a:pt x="13" y="47"/>
                    <a:pt x="8" y="30"/>
                    <a:pt x="2" y="14"/>
                  </a:cubicBezTo>
                  <a:cubicBezTo>
                    <a:pt x="0" y="8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8"/>
                    <a:pt x="28" y="30"/>
                    <a:pt x="31" y="41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7" y="11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69" y="1"/>
                    <a:pt x="73" y="4"/>
                    <a:pt x="76" y="11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9"/>
                    <a:pt x="90" y="49"/>
                  </a:cubicBezTo>
                  <a:cubicBezTo>
                    <a:pt x="90" y="48"/>
                    <a:pt x="90" y="48"/>
                    <a:pt x="90" y="47"/>
                  </a:cubicBezTo>
                  <a:cubicBezTo>
                    <a:pt x="94" y="35"/>
                    <a:pt x="97" y="23"/>
                    <a:pt x="101" y="10"/>
                  </a:cubicBezTo>
                  <a:cubicBezTo>
                    <a:pt x="103" y="3"/>
                    <a:pt x="106" y="1"/>
                    <a:pt x="113" y="1"/>
                  </a:cubicBezTo>
                  <a:cubicBezTo>
                    <a:pt x="121" y="2"/>
                    <a:pt x="124" y="6"/>
                    <a:pt x="121" y="13"/>
                  </a:cubicBezTo>
                  <a:cubicBezTo>
                    <a:pt x="116" y="30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="" xmlns:a16="http://schemas.microsoft.com/office/drawing/2014/main" id="{CFB7063B-0DFA-4BB9-957F-7F068926E5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6838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7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6 h 73"/>
                <a:gd name="T22" fmla="*/ 31 w 124"/>
                <a:gd name="T23" fmla="*/ 40 h 73"/>
                <a:gd name="T24" fmla="*/ 33 w 124"/>
                <a:gd name="T25" fmla="*/ 48 h 73"/>
                <a:gd name="T26" fmla="*/ 34 w 124"/>
                <a:gd name="T27" fmla="*/ 49 h 73"/>
                <a:gd name="T28" fmla="*/ 35 w 124"/>
                <a:gd name="T29" fmla="*/ 48 h 73"/>
                <a:gd name="T30" fmla="*/ 47 w 124"/>
                <a:gd name="T31" fmla="*/ 12 h 73"/>
                <a:gd name="T32" fmla="*/ 62 w 124"/>
                <a:gd name="T33" fmla="*/ 1 h 73"/>
                <a:gd name="T34" fmla="*/ 76 w 124"/>
                <a:gd name="T35" fmla="*/ 12 h 73"/>
                <a:gd name="T36" fmla="*/ 89 w 124"/>
                <a:gd name="T37" fmla="*/ 48 h 73"/>
                <a:gd name="T38" fmla="*/ 90 w 124"/>
                <a:gd name="T39" fmla="*/ 49 h 73"/>
                <a:gd name="T40" fmla="*/ 90 w 124"/>
                <a:gd name="T41" fmla="*/ 48 h 73"/>
                <a:gd name="T42" fmla="*/ 101 w 124"/>
                <a:gd name="T43" fmla="*/ 10 h 73"/>
                <a:gd name="T44" fmla="*/ 112 w 124"/>
                <a:gd name="T45" fmla="*/ 1 h 73"/>
                <a:gd name="T46" fmla="*/ 121 w 124"/>
                <a:gd name="T47" fmla="*/ 14 h 73"/>
                <a:gd name="T48" fmla="*/ 104 w 124"/>
                <a:gd name="T49" fmla="*/ 63 h 73"/>
                <a:gd name="T50" fmla="*/ 90 w 124"/>
                <a:gd name="T51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3" y="22"/>
                    <a:pt x="62" y="22"/>
                    <a:pt x="62" y="21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56" y="36"/>
                    <a:pt x="52" y="50"/>
                    <a:pt x="47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9"/>
                    <a:pt x="0" y="5"/>
                    <a:pt x="6" y="2"/>
                  </a:cubicBezTo>
                  <a:cubicBezTo>
                    <a:pt x="12" y="0"/>
                    <a:pt x="19" y="1"/>
                    <a:pt x="21" y="6"/>
                  </a:cubicBezTo>
                  <a:cubicBezTo>
                    <a:pt x="25" y="17"/>
                    <a:pt x="28" y="29"/>
                    <a:pt x="31" y="40"/>
                  </a:cubicBezTo>
                  <a:cubicBezTo>
                    <a:pt x="32" y="42"/>
                    <a:pt x="33" y="45"/>
                    <a:pt x="33" y="48"/>
                  </a:cubicBezTo>
                  <a:cubicBezTo>
                    <a:pt x="33" y="48"/>
                    <a:pt x="34" y="49"/>
                    <a:pt x="34" y="49"/>
                  </a:cubicBezTo>
                  <a:cubicBezTo>
                    <a:pt x="34" y="49"/>
                    <a:pt x="34" y="48"/>
                    <a:pt x="35" y="48"/>
                  </a:cubicBezTo>
                  <a:cubicBezTo>
                    <a:pt x="39" y="36"/>
                    <a:pt x="43" y="24"/>
                    <a:pt x="47" y="12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70" y="1"/>
                    <a:pt x="73" y="4"/>
                    <a:pt x="76" y="12"/>
                  </a:cubicBezTo>
                  <a:cubicBezTo>
                    <a:pt x="81" y="23"/>
                    <a:pt x="85" y="36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94" y="35"/>
                    <a:pt x="98" y="23"/>
                    <a:pt x="101" y="10"/>
                  </a:cubicBezTo>
                  <a:cubicBezTo>
                    <a:pt x="103" y="5"/>
                    <a:pt x="106" y="2"/>
                    <a:pt x="112" y="1"/>
                  </a:cubicBezTo>
                  <a:cubicBezTo>
                    <a:pt x="121" y="1"/>
                    <a:pt x="124" y="6"/>
                    <a:pt x="121" y="14"/>
                  </a:cubicBezTo>
                  <a:cubicBezTo>
                    <a:pt x="116" y="31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="" xmlns:a16="http://schemas.microsoft.com/office/drawing/2014/main" id="{131A025F-51C1-46B8-8513-E958EFF869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1188" y="952500"/>
              <a:ext cx="615950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4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2 h 73"/>
                <a:gd name="T24" fmla="*/ 34 w 124"/>
                <a:gd name="T25" fmla="*/ 49 h 73"/>
                <a:gd name="T26" fmla="*/ 37 w 124"/>
                <a:gd name="T27" fmla="*/ 42 h 73"/>
                <a:gd name="T28" fmla="*/ 48 w 124"/>
                <a:gd name="T29" fmla="*/ 10 h 73"/>
                <a:gd name="T30" fmla="*/ 62 w 124"/>
                <a:gd name="T31" fmla="*/ 1 h 73"/>
                <a:gd name="T32" fmla="*/ 76 w 124"/>
                <a:gd name="T33" fmla="*/ 10 h 73"/>
                <a:gd name="T34" fmla="*/ 89 w 124"/>
                <a:gd name="T35" fmla="*/ 47 h 73"/>
                <a:gd name="T36" fmla="*/ 90 w 124"/>
                <a:gd name="T37" fmla="*/ 49 h 73"/>
                <a:gd name="T38" fmla="*/ 91 w 124"/>
                <a:gd name="T39" fmla="*/ 47 h 73"/>
                <a:gd name="T40" fmla="*/ 101 w 124"/>
                <a:gd name="T41" fmla="*/ 10 h 73"/>
                <a:gd name="T42" fmla="*/ 116 w 124"/>
                <a:gd name="T43" fmla="*/ 2 h 73"/>
                <a:gd name="T44" fmla="*/ 122 w 124"/>
                <a:gd name="T45" fmla="*/ 12 h 73"/>
                <a:gd name="T46" fmla="*/ 104 w 124"/>
                <a:gd name="T47" fmla="*/ 65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4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6"/>
                    <a:pt x="51" y="50"/>
                    <a:pt x="46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7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9"/>
                    <a:pt x="28" y="30"/>
                    <a:pt x="31" y="42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8" y="10"/>
                  </a:cubicBezTo>
                  <a:cubicBezTo>
                    <a:pt x="50" y="3"/>
                    <a:pt x="55" y="1"/>
                    <a:pt x="62" y="1"/>
                  </a:cubicBezTo>
                  <a:cubicBezTo>
                    <a:pt x="69" y="1"/>
                    <a:pt x="73" y="4"/>
                    <a:pt x="76" y="10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8"/>
                    <a:pt x="90" y="48"/>
                    <a:pt x="91" y="47"/>
                  </a:cubicBezTo>
                  <a:cubicBezTo>
                    <a:pt x="94" y="35"/>
                    <a:pt x="98" y="22"/>
                    <a:pt x="101" y="10"/>
                  </a:cubicBezTo>
                  <a:cubicBezTo>
                    <a:pt x="103" y="3"/>
                    <a:pt x="108" y="0"/>
                    <a:pt x="116" y="2"/>
                  </a:cubicBezTo>
                  <a:cubicBezTo>
                    <a:pt x="121" y="3"/>
                    <a:pt x="124" y="7"/>
                    <a:pt x="122" y="12"/>
                  </a:cubicBezTo>
                  <a:cubicBezTo>
                    <a:pt x="116" y="30"/>
                    <a:pt x="110" y="47"/>
                    <a:pt x="104" y="65"/>
                  </a:cubicBezTo>
                  <a:cubicBezTo>
                    <a:pt x="101" y="71"/>
                    <a:pt x="97" y="73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</p:grpSp>
      <p:sp>
        <p:nvSpPr>
          <p:cNvPr id="51" name="TextBox 7">
            <a:extLst>
              <a:ext uri="{FF2B5EF4-FFF2-40B4-BE49-F238E27FC236}">
                <a16:creationId xmlns="" xmlns:a16="http://schemas.microsoft.com/office/drawing/2014/main" id="{D24B1108-EDD6-417B-A36D-F3867011F0AB}"/>
              </a:ext>
            </a:extLst>
          </p:cNvPr>
          <p:cNvSpPr txBox="1"/>
          <p:nvPr userDrawn="1"/>
        </p:nvSpPr>
        <p:spPr bwMode="gray">
          <a:xfrm>
            <a:off x="2622199" y="5403598"/>
            <a:ext cx="1773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twitter.com/giz_gmbh</a:t>
            </a:r>
          </a:p>
        </p:txBody>
      </p:sp>
      <p:sp>
        <p:nvSpPr>
          <p:cNvPr id="52" name="TextBox 7">
            <a:extLst>
              <a:ext uri="{FF2B5EF4-FFF2-40B4-BE49-F238E27FC236}">
                <a16:creationId xmlns="" xmlns:a16="http://schemas.microsoft.com/office/drawing/2014/main" id="{D1A27A20-93C4-43EC-9799-1798AF93C848}"/>
              </a:ext>
            </a:extLst>
          </p:cNvPr>
          <p:cNvSpPr txBox="1"/>
          <p:nvPr userDrawn="1"/>
        </p:nvSpPr>
        <p:spPr bwMode="gray">
          <a:xfrm>
            <a:off x="5253681" y="5403598"/>
            <a:ext cx="22557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www.facebook.com/gizprofile/</a:t>
            </a:r>
          </a:p>
        </p:txBody>
      </p:sp>
      <p:sp>
        <p:nvSpPr>
          <p:cNvPr id="31" name="Textplatzhalter 16">
            <a:extLst>
              <a:ext uri="{FF2B5EF4-FFF2-40B4-BE49-F238E27FC236}">
                <a16:creationId xmlns="" xmlns:a16="http://schemas.microsoft.com/office/drawing/2014/main" id="{99BAFDF9-B477-4EAA-888B-B283B996F1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959065" y="2760960"/>
            <a:ext cx="2570185" cy="80169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T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32" name="Textplatzhalter 29">
            <a:extLst>
              <a:ext uri="{FF2B5EF4-FFF2-40B4-BE49-F238E27FC236}">
                <a16:creationId xmlns="" xmlns:a16="http://schemas.microsoft.com/office/drawing/2014/main" id="{45476593-F938-4100-B13C-38D8379BF2A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1959065" y="1857149"/>
            <a:ext cx="2570185" cy="235035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3" name="Textplatzhalter 30">
            <a:extLst>
              <a:ext uri="{FF2B5EF4-FFF2-40B4-BE49-F238E27FC236}">
                <a16:creationId xmlns="" xmlns:a16="http://schemas.microsoft.com/office/drawing/2014/main" id="{01D00CFF-DFE3-4530-913B-A7058396109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959065" y="2181305"/>
            <a:ext cx="2570185" cy="235035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4" name="Bildplatzhalter 6">
            <a:extLst>
              <a:ext uri="{FF2B5EF4-FFF2-40B4-BE49-F238E27FC236}">
                <a16:creationId xmlns="" xmlns:a16="http://schemas.microsoft.com/office/drawing/2014/main" id="{E73BDD7E-D6A6-482B-9D61-5276F4F4997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9821" y="1857150"/>
            <a:ext cx="1342015" cy="2075553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3" name="Textplatzhalter 16">
            <a:extLst>
              <a:ext uri="{FF2B5EF4-FFF2-40B4-BE49-F238E27FC236}">
                <a16:creationId xmlns="" xmlns:a16="http://schemas.microsoft.com/office/drawing/2014/main" id="{D4C3F840-A666-4D4F-B080-E849549C179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2653" y="2760960"/>
            <a:ext cx="2671574" cy="80169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54" name="Textplatzhalter 29">
            <a:extLst>
              <a:ext uri="{FF2B5EF4-FFF2-40B4-BE49-F238E27FC236}">
                <a16:creationId xmlns="" xmlns:a16="http://schemas.microsoft.com/office/drawing/2014/main" id="{1183BB15-4C0C-49C5-B0B2-4418E3FD55E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6242653" y="1857149"/>
            <a:ext cx="2671574" cy="235035"/>
          </a:xfr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5" name="Textplatzhalter 30">
            <a:extLst>
              <a:ext uri="{FF2B5EF4-FFF2-40B4-BE49-F238E27FC236}">
                <a16:creationId xmlns="" xmlns:a16="http://schemas.microsoft.com/office/drawing/2014/main" id="{0C6CA511-61C0-47B0-A071-DE19417241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42653" y="2181305"/>
            <a:ext cx="2671574" cy="235035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56" name="Bildplatzhalter 6">
            <a:extLst>
              <a:ext uri="{FF2B5EF4-FFF2-40B4-BE49-F238E27FC236}">
                <a16:creationId xmlns="" xmlns:a16="http://schemas.microsoft.com/office/drawing/2014/main" id="{B0EA41BA-7C5A-4545-A1DA-71964B045D1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gray">
          <a:xfrm>
            <a:off x="4733411" y="1857150"/>
            <a:ext cx="1342015" cy="2075553"/>
          </a:xfrm>
          <a:solidFill>
            <a:schemeClr val="bg2"/>
          </a:solidFill>
        </p:spPr>
        <p:txBody>
          <a:bodyPr vert="horz" lIns="36000" tIns="1080000" rIns="36000" bIns="36000" rtlCol="0">
            <a:noAutofit/>
          </a:bodyPr>
          <a:lstStyle>
            <a:lvl1pPr algn="ctr">
              <a:defRPr lang="en-GB" sz="10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8" name="Titel 1">
            <a:extLst>
              <a:ext uri="{FF2B5EF4-FFF2-40B4-BE49-F238E27FC236}">
                <a16:creationId xmlns="" xmlns:a16="http://schemas.microsoft.com/office/drawing/2014/main" id="{2DD72F4F-E3F2-49DC-BBAE-681D615ED49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8" y="320284"/>
            <a:ext cx="8464411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288926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="" xmlns:a16="http://schemas.microsoft.com/office/drawing/2014/main" id="{DF58C217-C4E2-448E-B6B5-E56CEFB6D35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4" b="7466"/>
          <a:stretch/>
        </p:blipFill>
        <p:spPr bwMode="gray">
          <a:xfrm>
            <a:off x="123138" y="165101"/>
            <a:ext cx="8893865" cy="5968659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="" xmlns:a16="http://schemas.microsoft.com/office/drawing/2014/main" id="{1E3E3E95-0AFA-477F-B88E-9AEDC037418E}"/>
              </a:ext>
            </a:extLst>
          </p:cNvPr>
          <p:cNvSpPr>
            <a:spLocks/>
          </p:cNvSpPr>
          <p:nvPr userDrawn="1"/>
        </p:nvSpPr>
        <p:spPr bwMode="gray">
          <a:xfrm>
            <a:off x="123138" y="165101"/>
            <a:ext cx="8893865" cy="59686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>
          <a:xfrm>
            <a:off x="1059420" y="6583902"/>
            <a:ext cx="533639" cy="92333"/>
          </a:xfrm>
        </p:spPr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>
          <a:xfrm>
            <a:off x="1783025" y="6583904"/>
            <a:ext cx="5839479" cy="92333"/>
          </a:xfrm>
        </p:spPr>
        <p:txBody>
          <a:bodyPr/>
          <a:lstStyle/>
          <a:p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>
          <a:xfrm>
            <a:off x="449817" y="6583902"/>
            <a:ext cx="450850" cy="92333"/>
          </a:xfrm>
        </p:spPr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="" xmlns:a16="http://schemas.microsoft.com/office/drawing/2014/main" id="{3B6C23A5-1B72-42F2-B92F-DC68B632F6B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083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19" name="Textplatzhalter 16">
            <a:extLst>
              <a:ext uri="{FF2B5EF4-FFF2-40B4-BE49-F238E27FC236}">
                <a16:creationId xmlns="" xmlns:a16="http://schemas.microsoft.com/office/drawing/2014/main" id="{F0C65784-9410-409B-82EA-6584D4732C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9819" y="3965952"/>
            <a:ext cx="2608495" cy="72014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20" name="Textplatzhalter 29">
            <a:extLst>
              <a:ext uri="{FF2B5EF4-FFF2-40B4-BE49-F238E27FC236}">
                <a16:creationId xmlns="" xmlns:a16="http://schemas.microsoft.com/office/drawing/2014/main" id="{85761457-A63B-46F2-99C5-E217A1E0A70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449819" y="3345197"/>
            <a:ext cx="2608495" cy="235035"/>
          </a:xfrm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1" name="Textplatzhalter 30">
            <a:extLst>
              <a:ext uri="{FF2B5EF4-FFF2-40B4-BE49-F238E27FC236}">
                <a16:creationId xmlns="" xmlns:a16="http://schemas.microsoft.com/office/drawing/2014/main" id="{CB52D947-0416-4964-B28D-129580E4772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49819" y="3581825"/>
            <a:ext cx="2608495" cy="235035"/>
          </a:xfrm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5" name="Bildplatzhalter 6">
            <a:extLst>
              <a:ext uri="{FF2B5EF4-FFF2-40B4-BE49-F238E27FC236}">
                <a16:creationId xmlns="" xmlns:a16="http://schemas.microsoft.com/office/drawing/2014/main" id="{FC763A8F-9E6C-4EEB-90DC-0F65B80379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9818" y="1569544"/>
            <a:ext cx="1016580" cy="1572237"/>
          </a:xfrm>
          <a:solidFill>
            <a:schemeClr val="bg2"/>
          </a:solidFill>
        </p:spPr>
        <p:txBody>
          <a:bodyPr vert="horz" lIns="36000" tIns="864000" rIns="36000" bIns="36000" rtlCol="0">
            <a:noAutofit/>
          </a:bodyPr>
          <a:lstStyle>
            <a:lvl1pPr algn="ctr">
              <a:defRPr lang="en-GB" sz="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23" name="Textplatzhalter 16">
            <a:extLst>
              <a:ext uri="{FF2B5EF4-FFF2-40B4-BE49-F238E27FC236}">
                <a16:creationId xmlns="" xmlns:a16="http://schemas.microsoft.com/office/drawing/2014/main" id="{A3959264-4C48-474A-BB44-B8C103D1F2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348460" y="3965952"/>
            <a:ext cx="2608495" cy="72014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24" name="Textplatzhalter 29">
            <a:extLst>
              <a:ext uri="{FF2B5EF4-FFF2-40B4-BE49-F238E27FC236}">
                <a16:creationId xmlns="" xmlns:a16="http://schemas.microsoft.com/office/drawing/2014/main" id="{37C5BE72-A50D-4E1F-A698-7239B19ED5F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3348460" y="3345197"/>
            <a:ext cx="2608495" cy="235035"/>
          </a:xfrm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5" name="Textplatzhalter 30">
            <a:extLst>
              <a:ext uri="{FF2B5EF4-FFF2-40B4-BE49-F238E27FC236}">
                <a16:creationId xmlns="" xmlns:a16="http://schemas.microsoft.com/office/drawing/2014/main" id="{BBC5F177-59CC-4E2C-8920-EF6014FA21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348460" y="3581825"/>
            <a:ext cx="2608495" cy="235035"/>
          </a:xfrm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36" name="Bildplatzhalter 6">
            <a:extLst>
              <a:ext uri="{FF2B5EF4-FFF2-40B4-BE49-F238E27FC236}">
                <a16:creationId xmlns="" xmlns:a16="http://schemas.microsoft.com/office/drawing/2014/main" id="{BB2B85DB-7C09-47DD-8B78-3BE26DF1732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gray">
          <a:xfrm>
            <a:off x="3348459" y="1569544"/>
            <a:ext cx="1016580" cy="1572237"/>
          </a:xfrm>
          <a:solidFill>
            <a:schemeClr val="bg2"/>
          </a:solidFill>
        </p:spPr>
        <p:txBody>
          <a:bodyPr vert="horz" lIns="36000" tIns="864000" rIns="36000" bIns="36000" rtlCol="0">
            <a:noAutofit/>
          </a:bodyPr>
          <a:lstStyle>
            <a:lvl1pPr algn="ctr">
              <a:defRPr lang="en-GB" sz="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37" name="Textplatzhalter 16">
            <a:extLst>
              <a:ext uri="{FF2B5EF4-FFF2-40B4-BE49-F238E27FC236}">
                <a16:creationId xmlns="" xmlns:a16="http://schemas.microsoft.com/office/drawing/2014/main" id="{C376165A-CE76-4372-91C7-F6C54DEAFEF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47101" y="3965952"/>
            <a:ext cx="2608495" cy="72014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/>
            </a:lvl1pPr>
          </a:lstStyle>
          <a:p>
            <a:r>
              <a:rPr lang="fr-FR" dirty="0"/>
              <a:t>vorname.nachname@giz.de</a:t>
            </a:r>
          </a:p>
          <a:p>
            <a:r>
              <a:rPr lang="fr-FR" dirty="0"/>
              <a:t>Tel.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r>
              <a:rPr lang="fr-FR" dirty="0"/>
              <a:t> </a:t>
            </a:r>
          </a:p>
          <a:p>
            <a:r>
              <a:rPr lang="fr-FR" dirty="0"/>
              <a:t>Fax	+49 (0) x xx </a:t>
            </a:r>
            <a:r>
              <a:rPr lang="fr-FR" dirty="0" err="1"/>
              <a:t>xx</a:t>
            </a:r>
            <a:r>
              <a:rPr lang="fr-FR" dirty="0"/>
              <a:t> </a:t>
            </a:r>
            <a:r>
              <a:rPr lang="fr-FR" dirty="0" err="1"/>
              <a:t>xx</a:t>
            </a:r>
            <a:endParaRPr lang="fr-FR" dirty="0"/>
          </a:p>
        </p:txBody>
      </p:sp>
      <p:sp>
        <p:nvSpPr>
          <p:cNvPr id="38" name="Textplatzhalter 29">
            <a:extLst>
              <a:ext uri="{FF2B5EF4-FFF2-40B4-BE49-F238E27FC236}">
                <a16:creationId xmlns="" xmlns:a16="http://schemas.microsoft.com/office/drawing/2014/main" id="{12DC0B08-9C2F-4A20-8D25-AB673DE13DB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 bwMode="gray">
          <a:xfrm>
            <a:off x="6247101" y="3345197"/>
            <a:ext cx="2608495" cy="235035"/>
          </a:xfrm>
        </p:spPr>
        <p:txBody>
          <a:bodyPr/>
          <a:lstStyle>
            <a:lvl1pPr>
              <a:defRPr sz="10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9" name="Textplatzhalter 30">
            <a:extLst>
              <a:ext uri="{FF2B5EF4-FFF2-40B4-BE49-F238E27FC236}">
                <a16:creationId xmlns="" xmlns:a16="http://schemas.microsoft.com/office/drawing/2014/main" id="{7DB1B252-5879-4206-BDF8-0A22178C042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247101" y="3581825"/>
            <a:ext cx="2608495" cy="235035"/>
          </a:xfrm>
        </p:spPr>
        <p:txBody>
          <a:bodyPr/>
          <a:lstStyle>
            <a:lvl1pPr>
              <a:defRPr sz="1000"/>
            </a:lvl1pPr>
          </a:lstStyle>
          <a:p>
            <a:r>
              <a:rPr lang="de-DE" dirty="0"/>
              <a:t>Funktion, Ort</a:t>
            </a:r>
          </a:p>
        </p:txBody>
      </p:sp>
      <p:sp>
        <p:nvSpPr>
          <p:cNvPr id="40" name="Bildplatzhalter 6">
            <a:extLst>
              <a:ext uri="{FF2B5EF4-FFF2-40B4-BE49-F238E27FC236}">
                <a16:creationId xmlns="" xmlns:a16="http://schemas.microsoft.com/office/drawing/2014/main" id="{DD64FA03-A54F-412F-96FC-EE4E88E5DD5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6247100" y="1569544"/>
            <a:ext cx="1016580" cy="1572237"/>
          </a:xfrm>
          <a:solidFill>
            <a:schemeClr val="bg2"/>
          </a:solidFill>
        </p:spPr>
        <p:txBody>
          <a:bodyPr vert="horz" lIns="36000" tIns="864000" rIns="36000" bIns="36000" rtlCol="0">
            <a:noAutofit/>
          </a:bodyPr>
          <a:lstStyle>
            <a:lvl1pPr algn="ctr">
              <a:defRPr lang="en-GB" sz="600" dirty="0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42" name="TextBox 7">
            <a:extLst>
              <a:ext uri="{FF2B5EF4-FFF2-40B4-BE49-F238E27FC236}">
                <a16:creationId xmlns="" xmlns:a16="http://schemas.microsoft.com/office/drawing/2014/main" id="{0ACBC6BD-AF1C-4AC3-B989-7C0851FD4A36}"/>
              </a:ext>
            </a:extLst>
          </p:cNvPr>
          <p:cNvSpPr txBox="1"/>
          <p:nvPr userDrawn="1"/>
        </p:nvSpPr>
        <p:spPr bwMode="gray">
          <a:xfrm>
            <a:off x="784637" y="5403598"/>
            <a:ext cx="8386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www.giz.de</a:t>
            </a:r>
          </a:p>
        </p:txBody>
      </p:sp>
      <p:pic>
        <p:nvPicPr>
          <p:cNvPr id="43" name="Grafik 42" descr="Ein Bild, das Axt, Werkzeug enthält.&#10;&#10;Mit sehr hoher Zuverlässigkeit generierte Beschreibung">
            <a:extLst>
              <a:ext uri="{FF2B5EF4-FFF2-40B4-BE49-F238E27FC236}">
                <a16:creationId xmlns="" xmlns:a16="http://schemas.microsoft.com/office/drawing/2014/main" id="{1409F6AC-26EC-4924-85C7-7C52829EA0B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2273484" y="5442595"/>
            <a:ext cx="290728" cy="315277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="" xmlns:a16="http://schemas.microsoft.com/office/drawing/2014/main" id="{95D9641D-18D8-4757-B59C-824BED8ECD9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4961178" y="5408251"/>
            <a:ext cx="234516" cy="312685"/>
          </a:xfrm>
          <a:prstGeom prst="rect">
            <a:avLst/>
          </a:prstGeom>
        </p:spPr>
      </p:pic>
      <p:grpSp>
        <p:nvGrpSpPr>
          <p:cNvPr id="45" name="Gruppieren 44">
            <a:extLst>
              <a:ext uri="{FF2B5EF4-FFF2-40B4-BE49-F238E27FC236}">
                <a16:creationId xmlns="" xmlns:a16="http://schemas.microsoft.com/office/drawing/2014/main" id="{5C7EA8DE-E5C0-4542-A14B-2F893BDFC8D1}"/>
              </a:ext>
            </a:extLst>
          </p:cNvPr>
          <p:cNvGrpSpPr/>
          <p:nvPr userDrawn="1"/>
        </p:nvGrpSpPr>
        <p:grpSpPr bwMode="gray">
          <a:xfrm>
            <a:off x="444492" y="5372336"/>
            <a:ext cx="262622" cy="396344"/>
            <a:chOff x="4933951" y="-41275"/>
            <a:chExt cx="2130425" cy="2411413"/>
          </a:xfrm>
        </p:grpSpPr>
        <p:sp>
          <p:nvSpPr>
            <p:cNvPr id="46" name="Freeform 6">
              <a:extLst>
                <a:ext uri="{FF2B5EF4-FFF2-40B4-BE49-F238E27FC236}">
                  <a16:creationId xmlns="" xmlns:a16="http://schemas.microsoft.com/office/drawing/2014/main" id="{05EE60F5-13C7-4FF2-87FA-B42FCFE9CCF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1435100"/>
              <a:ext cx="2114550" cy="935038"/>
            </a:xfrm>
            <a:custGeom>
              <a:avLst/>
              <a:gdLst>
                <a:gd name="T0" fmla="*/ 287 w 425"/>
                <a:gd name="T1" fmla="*/ 25 h 188"/>
                <a:gd name="T2" fmla="*/ 297 w 425"/>
                <a:gd name="T3" fmla="*/ 2 h 188"/>
                <a:gd name="T4" fmla="*/ 325 w 425"/>
                <a:gd name="T5" fmla="*/ 0 h 188"/>
                <a:gd name="T6" fmla="*/ 321 w 425"/>
                <a:gd name="T7" fmla="*/ 23 h 188"/>
                <a:gd name="T8" fmla="*/ 382 w 425"/>
                <a:gd name="T9" fmla="*/ 25 h 188"/>
                <a:gd name="T10" fmla="*/ 394 w 425"/>
                <a:gd name="T11" fmla="*/ 2 h 188"/>
                <a:gd name="T12" fmla="*/ 423 w 425"/>
                <a:gd name="T13" fmla="*/ 0 h 188"/>
                <a:gd name="T14" fmla="*/ 307 w 425"/>
                <a:gd name="T15" fmla="*/ 135 h 188"/>
                <a:gd name="T16" fmla="*/ 0 w 425"/>
                <a:gd name="T17" fmla="*/ 2 h 188"/>
                <a:gd name="T18" fmla="*/ 28 w 425"/>
                <a:gd name="T19" fmla="*/ 0 h 188"/>
                <a:gd name="T20" fmla="*/ 40 w 425"/>
                <a:gd name="T21" fmla="*/ 23 h 188"/>
                <a:gd name="T22" fmla="*/ 101 w 425"/>
                <a:gd name="T23" fmla="*/ 25 h 188"/>
                <a:gd name="T24" fmla="*/ 97 w 425"/>
                <a:gd name="T25" fmla="*/ 3 h 188"/>
                <a:gd name="T26" fmla="*/ 125 w 425"/>
                <a:gd name="T27" fmla="*/ 0 h 188"/>
                <a:gd name="T28" fmla="*/ 134 w 425"/>
                <a:gd name="T29" fmla="*/ 23 h 188"/>
                <a:gd name="T30" fmla="*/ 192 w 425"/>
                <a:gd name="T31" fmla="*/ 25 h 188"/>
                <a:gd name="T32" fmla="*/ 194 w 425"/>
                <a:gd name="T33" fmla="*/ 2 h 188"/>
                <a:gd name="T34" fmla="*/ 221 w 425"/>
                <a:gd name="T35" fmla="*/ 0 h 188"/>
                <a:gd name="T36" fmla="*/ 224 w 425"/>
                <a:gd name="T37" fmla="*/ 23 h 188"/>
                <a:gd name="T38" fmla="*/ 256 w 425"/>
                <a:gd name="T39" fmla="*/ 25 h 188"/>
                <a:gd name="T40" fmla="*/ 362 w 425"/>
                <a:gd name="T41" fmla="*/ 55 h 188"/>
                <a:gd name="T42" fmla="*/ 307 w 425"/>
                <a:gd name="T43" fmla="*/ 56 h 188"/>
                <a:gd name="T44" fmla="*/ 256 w 425"/>
                <a:gd name="T45" fmla="*/ 121 h 188"/>
                <a:gd name="T46" fmla="*/ 363 w 425"/>
                <a:gd name="T47" fmla="*/ 56 h 188"/>
                <a:gd name="T48" fmla="*/ 87 w 425"/>
                <a:gd name="T49" fmla="*/ 55 h 188"/>
                <a:gd name="T50" fmla="*/ 61 w 425"/>
                <a:gd name="T51" fmla="*/ 55 h 188"/>
                <a:gd name="T52" fmla="*/ 155 w 425"/>
                <a:gd name="T53" fmla="*/ 118 h 188"/>
                <a:gd name="T54" fmla="*/ 156 w 425"/>
                <a:gd name="T55" fmla="*/ 117 h 188"/>
                <a:gd name="T56" fmla="*/ 111 w 425"/>
                <a:gd name="T57" fmla="*/ 55 h 188"/>
                <a:gd name="T58" fmla="*/ 224 w 425"/>
                <a:gd name="T59" fmla="*/ 81 h 188"/>
                <a:gd name="T60" fmla="*/ 224 w 425"/>
                <a:gd name="T61" fmla="*/ 108 h 188"/>
                <a:gd name="T62" fmla="*/ 273 w 425"/>
                <a:gd name="T63" fmla="*/ 56 h 188"/>
                <a:gd name="T64" fmla="*/ 225 w 425"/>
                <a:gd name="T65" fmla="*/ 55 h 188"/>
                <a:gd name="T66" fmla="*/ 224 w 425"/>
                <a:gd name="T67" fmla="*/ 81 h 188"/>
                <a:gd name="T68" fmla="*/ 194 w 425"/>
                <a:gd name="T69" fmla="*/ 56 h 188"/>
                <a:gd name="T70" fmla="*/ 148 w 425"/>
                <a:gd name="T71" fmla="*/ 55 h 188"/>
                <a:gd name="T72" fmla="*/ 192 w 425"/>
                <a:gd name="T73" fmla="*/ 109 h 188"/>
                <a:gd name="T74" fmla="*/ 194 w 425"/>
                <a:gd name="T75" fmla="*/ 10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5" h="188">
                  <a:moveTo>
                    <a:pt x="256" y="25"/>
                  </a:moveTo>
                  <a:cubicBezTo>
                    <a:pt x="267" y="25"/>
                    <a:pt x="277" y="25"/>
                    <a:pt x="287" y="25"/>
                  </a:cubicBezTo>
                  <a:cubicBezTo>
                    <a:pt x="288" y="25"/>
                    <a:pt x="290" y="24"/>
                    <a:pt x="290" y="23"/>
                  </a:cubicBezTo>
                  <a:cubicBezTo>
                    <a:pt x="292" y="16"/>
                    <a:pt x="294" y="9"/>
                    <a:pt x="297" y="2"/>
                  </a:cubicBezTo>
                  <a:cubicBezTo>
                    <a:pt x="297" y="2"/>
                    <a:pt x="298" y="0"/>
                    <a:pt x="299" y="0"/>
                  </a:cubicBezTo>
                  <a:cubicBezTo>
                    <a:pt x="308" y="0"/>
                    <a:pt x="316" y="0"/>
                    <a:pt x="325" y="0"/>
                  </a:cubicBezTo>
                  <a:cubicBezTo>
                    <a:pt x="326" y="0"/>
                    <a:pt x="327" y="2"/>
                    <a:pt x="326" y="2"/>
                  </a:cubicBezTo>
                  <a:cubicBezTo>
                    <a:pt x="325" y="9"/>
                    <a:pt x="323" y="16"/>
                    <a:pt x="321" y="23"/>
                  </a:cubicBezTo>
                  <a:cubicBezTo>
                    <a:pt x="321" y="23"/>
                    <a:pt x="322" y="25"/>
                    <a:pt x="322" y="25"/>
                  </a:cubicBezTo>
                  <a:cubicBezTo>
                    <a:pt x="342" y="25"/>
                    <a:pt x="362" y="25"/>
                    <a:pt x="382" y="25"/>
                  </a:cubicBezTo>
                  <a:cubicBezTo>
                    <a:pt x="383" y="25"/>
                    <a:pt x="384" y="24"/>
                    <a:pt x="384" y="23"/>
                  </a:cubicBezTo>
                  <a:cubicBezTo>
                    <a:pt x="388" y="16"/>
                    <a:pt x="391" y="9"/>
                    <a:pt x="394" y="2"/>
                  </a:cubicBezTo>
                  <a:cubicBezTo>
                    <a:pt x="394" y="1"/>
                    <a:pt x="395" y="0"/>
                    <a:pt x="396" y="0"/>
                  </a:cubicBezTo>
                  <a:cubicBezTo>
                    <a:pt x="405" y="0"/>
                    <a:pt x="414" y="0"/>
                    <a:pt x="423" y="0"/>
                  </a:cubicBezTo>
                  <a:cubicBezTo>
                    <a:pt x="424" y="0"/>
                    <a:pt x="425" y="2"/>
                    <a:pt x="425" y="3"/>
                  </a:cubicBezTo>
                  <a:cubicBezTo>
                    <a:pt x="405" y="64"/>
                    <a:pt x="365" y="108"/>
                    <a:pt x="307" y="135"/>
                  </a:cubicBezTo>
                  <a:cubicBezTo>
                    <a:pt x="195" y="188"/>
                    <a:pt x="60" y="139"/>
                    <a:pt x="10" y="28"/>
                  </a:cubicBezTo>
                  <a:cubicBezTo>
                    <a:pt x="6" y="20"/>
                    <a:pt x="3" y="11"/>
                    <a:pt x="0" y="2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10" y="0"/>
                    <a:pt x="19" y="0"/>
                    <a:pt x="28" y="0"/>
                  </a:cubicBezTo>
                  <a:cubicBezTo>
                    <a:pt x="29" y="0"/>
                    <a:pt x="30" y="1"/>
                    <a:pt x="31" y="2"/>
                  </a:cubicBezTo>
                  <a:cubicBezTo>
                    <a:pt x="34" y="9"/>
                    <a:pt x="37" y="16"/>
                    <a:pt x="40" y="23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62" y="25"/>
                    <a:pt x="81" y="25"/>
                    <a:pt x="101" y="25"/>
                  </a:cubicBezTo>
                  <a:cubicBezTo>
                    <a:pt x="101" y="25"/>
                    <a:pt x="102" y="23"/>
                    <a:pt x="102" y="23"/>
                  </a:cubicBezTo>
                  <a:cubicBezTo>
                    <a:pt x="101" y="16"/>
                    <a:pt x="99" y="9"/>
                    <a:pt x="97" y="3"/>
                  </a:cubicBezTo>
                  <a:cubicBezTo>
                    <a:pt x="97" y="2"/>
                    <a:pt x="98" y="0"/>
                    <a:pt x="99" y="0"/>
                  </a:cubicBezTo>
                  <a:cubicBezTo>
                    <a:pt x="108" y="0"/>
                    <a:pt x="116" y="0"/>
                    <a:pt x="125" y="0"/>
                  </a:cubicBezTo>
                  <a:cubicBezTo>
                    <a:pt x="126" y="0"/>
                    <a:pt x="127" y="1"/>
                    <a:pt x="127" y="2"/>
                  </a:cubicBezTo>
                  <a:cubicBezTo>
                    <a:pt x="130" y="9"/>
                    <a:pt x="131" y="16"/>
                    <a:pt x="134" y="23"/>
                  </a:cubicBezTo>
                  <a:cubicBezTo>
                    <a:pt x="134" y="24"/>
                    <a:pt x="135" y="25"/>
                    <a:pt x="136" y="25"/>
                  </a:cubicBezTo>
                  <a:cubicBezTo>
                    <a:pt x="155" y="25"/>
                    <a:pt x="173" y="25"/>
                    <a:pt x="192" y="25"/>
                  </a:cubicBezTo>
                  <a:cubicBezTo>
                    <a:pt x="193" y="25"/>
                    <a:pt x="194" y="24"/>
                    <a:pt x="194" y="23"/>
                  </a:cubicBezTo>
                  <a:cubicBezTo>
                    <a:pt x="194" y="16"/>
                    <a:pt x="194" y="9"/>
                    <a:pt x="194" y="2"/>
                  </a:cubicBezTo>
                  <a:cubicBezTo>
                    <a:pt x="194" y="2"/>
                    <a:pt x="195" y="0"/>
                    <a:pt x="196" y="0"/>
                  </a:cubicBezTo>
                  <a:cubicBezTo>
                    <a:pt x="205" y="0"/>
                    <a:pt x="213" y="0"/>
                    <a:pt x="221" y="0"/>
                  </a:cubicBezTo>
                  <a:cubicBezTo>
                    <a:pt x="222" y="0"/>
                    <a:pt x="223" y="2"/>
                    <a:pt x="223" y="3"/>
                  </a:cubicBezTo>
                  <a:cubicBezTo>
                    <a:pt x="224" y="9"/>
                    <a:pt x="223" y="16"/>
                    <a:pt x="224" y="23"/>
                  </a:cubicBezTo>
                  <a:cubicBezTo>
                    <a:pt x="224" y="23"/>
                    <a:pt x="225" y="25"/>
                    <a:pt x="226" y="25"/>
                  </a:cubicBezTo>
                  <a:cubicBezTo>
                    <a:pt x="236" y="25"/>
                    <a:pt x="246" y="25"/>
                    <a:pt x="256" y="25"/>
                  </a:cubicBezTo>
                  <a:close/>
                  <a:moveTo>
                    <a:pt x="364" y="55"/>
                  </a:moveTo>
                  <a:cubicBezTo>
                    <a:pt x="363" y="55"/>
                    <a:pt x="363" y="55"/>
                    <a:pt x="362" y="55"/>
                  </a:cubicBezTo>
                  <a:cubicBezTo>
                    <a:pt x="345" y="55"/>
                    <a:pt x="328" y="54"/>
                    <a:pt x="311" y="55"/>
                  </a:cubicBezTo>
                  <a:cubicBezTo>
                    <a:pt x="310" y="55"/>
                    <a:pt x="308" y="56"/>
                    <a:pt x="307" y="56"/>
                  </a:cubicBezTo>
                  <a:cubicBezTo>
                    <a:pt x="295" y="81"/>
                    <a:pt x="279" y="103"/>
                    <a:pt x="257" y="120"/>
                  </a:cubicBezTo>
                  <a:cubicBezTo>
                    <a:pt x="257" y="121"/>
                    <a:pt x="257" y="121"/>
                    <a:pt x="256" y="121"/>
                  </a:cubicBezTo>
                  <a:cubicBezTo>
                    <a:pt x="257" y="122"/>
                    <a:pt x="257" y="122"/>
                    <a:pt x="258" y="122"/>
                  </a:cubicBezTo>
                  <a:cubicBezTo>
                    <a:pt x="300" y="111"/>
                    <a:pt x="335" y="90"/>
                    <a:pt x="363" y="56"/>
                  </a:cubicBezTo>
                  <a:cubicBezTo>
                    <a:pt x="363" y="56"/>
                    <a:pt x="364" y="55"/>
                    <a:pt x="364" y="55"/>
                  </a:cubicBezTo>
                  <a:close/>
                  <a:moveTo>
                    <a:pt x="87" y="55"/>
                  </a:moveTo>
                  <a:cubicBezTo>
                    <a:pt x="79" y="55"/>
                    <a:pt x="71" y="54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5"/>
                    <a:pt x="61" y="56"/>
                    <a:pt x="62" y="56"/>
                  </a:cubicBezTo>
                  <a:cubicBezTo>
                    <a:pt x="86" y="86"/>
                    <a:pt x="118" y="107"/>
                    <a:pt x="155" y="118"/>
                  </a:cubicBezTo>
                  <a:cubicBezTo>
                    <a:pt x="156" y="118"/>
                    <a:pt x="156" y="118"/>
                    <a:pt x="156" y="118"/>
                  </a:cubicBezTo>
                  <a:cubicBezTo>
                    <a:pt x="156" y="118"/>
                    <a:pt x="156" y="118"/>
                    <a:pt x="156" y="117"/>
                  </a:cubicBezTo>
                  <a:cubicBezTo>
                    <a:pt x="137" y="100"/>
                    <a:pt x="124" y="79"/>
                    <a:pt x="114" y="56"/>
                  </a:cubicBezTo>
                  <a:cubicBezTo>
                    <a:pt x="114" y="55"/>
                    <a:pt x="112" y="55"/>
                    <a:pt x="111" y="55"/>
                  </a:cubicBezTo>
                  <a:cubicBezTo>
                    <a:pt x="103" y="54"/>
                    <a:pt x="95" y="55"/>
                    <a:pt x="87" y="55"/>
                  </a:cubicBezTo>
                  <a:close/>
                  <a:moveTo>
                    <a:pt x="224" y="81"/>
                  </a:moveTo>
                  <a:cubicBezTo>
                    <a:pt x="224" y="89"/>
                    <a:pt x="224" y="98"/>
                    <a:pt x="224" y="106"/>
                  </a:cubicBezTo>
                  <a:cubicBezTo>
                    <a:pt x="224" y="107"/>
                    <a:pt x="224" y="107"/>
                    <a:pt x="224" y="108"/>
                  </a:cubicBezTo>
                  <a:cubicBezTo>
                    <a:pt x="224" y="108"/>
                    <a:pt x="225" y="107"/>
                    <a:pt x="226" y="107"/>
                  </a:cubicBezTo>
                  <a:cubicBezTo>
                    <a:pt x="246" y="94"/>
                    <a:pt x="261" y="76"/>
                    <a:pt x="273" y="56"/>
                  </a:cubicBezTo>
                  <a:cubicBezTo>
                    <a:pt x="274" y="56"/>
                    <a:pt x="273" y="55"/>
                    <a:pt x="272" y="55"/>
                  </a:cubicBezTo>
                  <a:cubicBezTo>
                    <a:pt x="257" y="54"/>
                    <a:pt x="241" y="54"/>
                    <a:pt x="225" y="55"/>
                  </a:cubicBezTo>
                  <a:cubicBezTo>
                    <a:pt x="225" y="55"/>
                    <a:pt x="224" y="56"/>
                    <a:pt x="224" y="56"/>
                  </a:cubicBezTo>
                  <a:cubicBezTo>
                    <a:pt x="224" y="65"/>
                    <a:pt x="224" y="73"/>
                    <a:pt x="224" y="81"/>
                  </a:cubicBezTo>
                  <a:close/>
                  <a:moveTo>
                    <a:pt x="194" y="82"/>
                  </a:moveTo>
                  <a:cubicBezTo>
                    <a:pt x="194" y="73"/>
                    <a:pt x="194" y="65"/>
                    <a:pt x="194" y="56"/>
                  </a:cubicBezTo>
                  <a:cubicBezTo>
                    <a:pt x="194" y="56"/>
                    <a:pt x="193" y="55"/>
                    <a:pt x="192" y="55"/>
                  </a:cubicBezTo>
                  <a:cubicBezTo>
                    <a:pt x="178" y="54"/>
                    <a:pt x="163" y="54"/>
                    <a:pt x="148" y="55"/>
                  </a:cubicBezTo>
                  <a:cubicBezTo>
                    <a:pt x="148" y="55"/>
                    <a:pt x="147" y="56"/>
                    <a:pt x="147" y="56"/>
                  </a:cubicBezTo>
                  <a:cubicBezTo>
                    <a:pt x="158" y="77"/>
                    <a:pt x="172" y="95"/>
                    <a:pt x="192" y="109"/>
                  </a:cubicBezTo>
                  <a:cubicBezTo>
                    <a:pt x="193" y="109"/>
                    <a:pt x="193" y="109"/>
                    <a:pt x="194" y="109"/>
                  </a:cubicBezTo>
                  <a:cubicBezTo>
                    <a:pt x="194" y="109"/>
                    <a:pt x="194" y="108"/>
                    <a:pt x="194" y="108"/>
                  </a:cubicBezTo>
                  <a:cubicBezTo>
                    <a:pt x="194" y="99"/>
                    <a:pt x="194" y="91"/>
                    <a:pt x="194" y="8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="" xmlns:a16="http://schemas.microsoft.com/office/drawing/2014/main" id="{BAA2DC66-D523-4725-9384-AA70E4C61D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5063" y="-41275"/>
              <a:ext cx="2108200" cy="860425"/>
            </a:xfrm>
            <a:custGeom>
              <a:avLst/>
              <a:gdLst>
                <a:gd name="T0" fmla="*/ 45 w 424"/>
                <a:gd name="T1" fmla="*/ 148 h 173"/>
                <a:gd name="T2" fmla="*/ 32 w 424"/>
                <a:gd name="T3" fmla="*/ 170 h 173"/>
                <a:gd name="T4" fmla="*/ 3 w 424"/>
                <a:gd name="T5" fmla="*/ 173 h 173"/>
                <a:gd name="T6" fmla="*/ 155 w 424"/>
                <a:gd name="T7" fmla="*/ 28 h 173"/>
                <a:gd name="T8" fmla="*/ 424 w 424"/>
                <a:gd name="T9" fmla="*/ 171 h 173"/>
                <a:gd name="T10" fmla="*/ 395 w 424"/>
                <a:gd name="T11" fmla="*/ 173 h 173"/>
                <a:gd name="T12" fmla="*/ 382 w 424"/>
                <a:gd name="T13" fmla="*/ 149 h 173"/>
                <a:gd name="T14" fmla="*/ 321 w 424"/>
                <a:gd name="T15" fmla="*/ 148 h 173"/>
                <a:gd name="T16" fmla="*/ 325 w 424"/>
                <a:gd name="T17" fmla="*/ 171 h 173"/>
                <a:gd name="T18" fmla="*/ 297 w 424"/>
                <a:gd name="T19" fmla="*/ 173 h 173"/>
                <a:gd name="T20" fmla="*/ 287 w 424"/>
                <a:gd name="T21" fmla="*/ 149 h 173"/>
                <a:gd name="T22" fmla="*/ 225 w 424"/>
                <a:gd name="T23" fmla="*/ 148 h 173"/>
                <a:gd name="T24" fmla="*/ 223 w 424"/>
                <a:gd name="T25" fmla="*/ 170 h 173"/>
                <a:gd name="T26" fmla="*/ 196 w 424"/>
                <a:gd name="T27" fmla="*/ 173 h 173"/>
                <a:gd name="T28" fmla="*/ 194 w 424"/>
                <a:gd name="T29" fmla="*/ 150 h 173"/>
                <a:gd name="T30" fmla="*/ 137 w 424"/>
                <a:gd name="T31" fmla="*/ 148 h 173"/>
                <a:gd name="T32" fmla="*/ 128 w 424"/>
                <a:gd name="T33" fmla="*/ 171 h 173"/>
                <a:gd name="T34" fmla="*/ 99 w 424"/>
                <a:gd name="T35" fmla="*/ 173 h 173"/>
                <a:gd name="T36" fmla="*/ 103 w 424"/>
                <a:gd name="T37" fmla="*/ 150 h 173"/>
                <a:gd name="T38" fmla="*/ 73 w 424"/>
                <a:gd name="T39" fmla="*/ 148 h 173"/>
                <a:gd name="T40" fmla="*/ 359 w 424"/>
                <a:gd name="T41" fmla="*/ 118 h 173"/>
                <a:gd name="T42" fmla="*/ 360 w 424"/>
                <a:gd name="T43" fmla="*/ 116 h 173"/>
                <a:gd name="T44" fmla="*/ 258 w 424"/>
                <a:gd name="T45" fmla="*/ 56 h 173"/>
                <a:gd name="T46" fmla="*/ 305 w 424"/>
                <a:gd name="T47" fmla="*/ 116 h 173"/>
                <a:gd name="T48" fmla="*/ 333 w 424"/>
                <a:gd name="T49" fmla="*/ 118 h 173"/>
                <a:gd name="T50" fmla="*/ 113 w 424"/>
                <a:gd name="T51" fmla="*/ 118 h 173"/>
                <a:gd name="T52" fmla="*/ 157 w 424"/>
                <a:gd name="T53" fmla="*/ 59 h 173"/>
                <a:gd name="T54" fmla="*/ 157 w 424"/>
                <a:gd name="T55" fmla="*/ 58 h 173"/>
                <a:gd name="T56" fmla="*/ 64 w 424"/>
                <a:gd name="T57" fmla="*/ 118 h 173"/>
                <a:gd name="T58" fmla="*/ 90 w 424"/>
                <a:gd name="T59" fmla="*/ 118 h 173"/>
                <a:gd name="T60" fmla="*/ 269 w 424"/>
                <a:gd name="T61" fmla="*/ 118 h 173"/>
                <a:gd name="T62" fmla="*/ 225 w 424"/>
                <a:gd name="T63" fmla="*/ 68 h 173"/>
                <a:gd name="T64" fmla="*/ 224 w 424"/>
                <a:gd name="T65" fmla="*/ 69 h 173"/>
                <a:gd name="T66" fmla="*/ 225 w 424"/>
                <a:gd name="T67" fmla="*/ 118 h 173"/>
                <a:gd name="T68" fmla="*/ 194 w 424"/>
                <a:gd name="T69" fmla="*/ 93 h 173"/>
                <a:gd name="T70" fmla="*/ 194 w 424"/>
                <a:gd name="T71" fmla="*/ 68 h 173"/>
                <a:gd name="T72" fmla="*/ 150 w 424"/>
                <a:gd name="T73" fmla="*/ 116 h 173"/>
                <a:gd name="T74" fmla="*/ 192 w 424"/>
                <a:gd name="T75" fmla="*/ 118 h 173"/>
                <a:gd name="T76" fmla="*/ 194 w 424"/>
                <a:gd name="T77" fmla="*/ 9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4" h="173">
                  <a:moveTo>
                    <a:pt x="73" y="148"/>
                  </a:moveTo>
                  <a:cubicBezTo>
                    <a:pt x="64" y="148"/>
                    <a:pt x="55" y="148"/>
                    <a:pt x="45" y="148"/>
                  </a:cubicBezTo>
                  <a:cubicBezTo>
                    <a:pt x="44" y="148"/>
                    <a:pt x="43" y="149"/>
                    <a:pt x="42" y="149"/>
                  </a:cubicBezTo>
                  <a:cubicBezTo>
                    <a:pt x="39" y="156"/>
                    <a:pt x="36" y="164"/>
                    <a:pt x="32" y="170"/>
                  </a:cubicBezTo>
                  <a:cubicBezTo>
                    <a:pt x="32" y="171"/>
                    <a:pt x="30" y="173"/>
                    <a:pt x="29" y="173"/>
                  </a:cubicBezTo>
                  <a:cubicBezTo>
                    <a:pt x="21" y="173"/>
                    <a:pt x="12" y="173"/>
                    <a:pt x="3" y="173"/>
                  </a:cubicBezTo>
                  <a:cubicBezTo>
                    <a:pt x="1" y="173"/>
                    <a:pt x="0" y="172"/>
                    <a:pt x="1" y="170"/>
                  </a:cubicBezTo>
                  <a:cubicBezTo>
                    <a:pt x="28" y="96"/>
                    <a:pt x="80" y="48"/>
                    <a:pt x="155" y="28"/>
                  </a:cubicBezTo>
                  <a:cubicBezTo>
                    <a:pt x="258" y="0"/>
                    <a:pt x="366" y="50"/>
                    <a:pt x="413" y="144"/>
                  </a:cubicBezTo>
                  <a:cubicBezTo>
                    <a:pt x="417" y="153"/>
                    <a:pt x="420" y="162"/>
                    <a:pt x="424" y="171"/>
                  </a:cubicBezTo>
                  <a:cubicBezTo>
                    <a:pt x="424" y="171"/>
                    <a:pt x="423" y="173"/>
                    <a:pt x="422" y="173"/>
                  </a:cubicBezTo>
                  <a:cubicBezTo>
                    <a:pt x="413" y="173"/>
                    <a:pt x="404" y="173"/>
                    <a:pt x="395" y="173"/>
                  </a:cubicBezTo>
                  <a:cubicBezTo>
                    <a:pt x="394" y="173"/>
                    <a:pt x="393" y="172"/>
                    <a:pt x="392" y="171"/>
                  </a:cubicBezTo>
                  <a:cubicBezTo>
                    <a:pt x="389" y="164"/>
                    <a:pt x="386" y="156"/>
                    <a:pt x="382" y="149"/>
                  </a:cubicBezTo>
                  <a:cubicBezTo>
                    <a:pt x="382" y="148"/>
                    <a:pt x="381" y="148"/>
                    <a:pt x="380" y="148"/>
                  </a:cubicBezTo>
                  <a:cubicBezTo>
                    <a:pt x="360" y="148"/>
                    <a:pt x="340" y="148"/>
                    <a:pt x="321" y="148"/>
                  </a:cubicBezTo>
                  <a:cubicBezTo>
                    <a:pt x="320" y="148"/>
                    <a:pt x="319" y="149"/>
                    <a:pt x="319" y="150"/>
                  </a:cubicBezTo>
                  <a:cubicBezTo>
                    <a:pt x="321" y="157"/>
                    <a:pt x="323" y="164"/>
                    <a:pt x="325" y="171"/>
                  </a:cubicBezTo>
                  <a:cubicBezTo>
                    <a:pt x="325" y="171"/>
                    <a:pt x="325" y="173"/>
                    <a:pt x="324" y="173"/>
                  </a:cubicBezTo>
                  <a:cubicBezTo>
                    <a:pt x="315" y="173"/>
                    <a:pt x="306" y="173"/>
                    <a:pt x="297" y="173"/>
                  </a:cubicBezTo>
                  <a:cubicBezTo>
                    <a:pt x="296" y="173"/>
                    <a:pt x="295" y="172"/>
                    <a:pt x="295" y="171"/>
                  </a:cubicBezTo>
                  <a:cubicBezTo>
                    <a:pt x="292" y="164"/>
                    <a:pt x="290" y="156"/>
                    <a:pt x="287" y="149"/>
                  </a:cubicBezTo>
                  <a:cubicBezTo>
                    <a:pt x="287" y="148"/>
                    <a:pt x="286" y="148"/>
                    <a:pt x="285" y="148"/>
                  </a:cubicBezTo>
                  <a:cubicBezTo>
                    <a:pt x="265" y="148"/>
                    <a:pt x="245" y="148"/>
                    <a:pt x="225" y="148"/>
                  </a:cubicBezTo>
                  <a:cubicBezTo>
                    <a:pt x="225" y="148"/>
                    <a:pt x="224" y="149"/>
                    <a:pt x="224" y="150"/>
                  </a:cubicBezTo>
                  <a:cubicBezTo>
                    <a:pt x="223" y="156"/>
                    <a:pt x="224" y="163"/>
                    <a:pt x="223" y="170"/>
                  </a:cubicBezTo>
                  <a:cubicBezTo>
                    <a:pt x="223" y="171"/>
                    <a:pt x="222" y="173"/>
                    <a:pt x="221" y="173"/>
                  </a:cubicBezTo>
                  <a:cubicBezTo>
                    <a:pt x="213" y="173"/>
                    <a:pt x="205" y="173"/>
                    <a:pt x="196" y="173"/>
                  </a:cubicBezTo>
                  <a:cubicBezTo>
                    <a:pt x="195" y="173"/>
                    <a:pt x="194" y="171"/>
                    <a:pt x="194" y="170"/>
                  </a:cubicBezTo>
                  <a:cubicBezTo>
                    <a:pt x="194" y="164"/>
                    <a:pt x="194" y="157"/>
                    <a:pt x="194" y="150"/>
                  </a:cubicBezTo>
                  <a:cubicBezTo>
                    <a:pt x="194" y="149"/>
                    <a:pt x="193" y="148"/>
                    <a:pt x="192" y="148"/>
                  </a:cubicBezTo>
                  <a:cubicBezTo>
                    <a:pt x="174" y="148"/>
                    <a:pt x="156" y="148"/>
                    <a:pt x="137" y="148"/>
                  </a:cubicBezTo>
                  <a:cubicBezTo>
                    <a:pt x="137" y="148"/>
                    <a:pt x="135" y="149"/>
                    <a:pt x="135" y="149"/>
                  </a:cubicBezTo>
                  <a:cubicBezTo>
                    <a:pt x="133" y="156"/>
                    <a:pt x="131" y="164"/>
                    <a:pt x="128" y="171"/>
                  </a:cubicBezTo>
                  <a:cubicBezTo>
                    <a:pt x="128" y="172"/>
                    <a:pt x="127" y="173"/>
                    <a:pt x="126" y="173"/>
                  </a:cubicBezTo>
                  <a:cubicBezTo>
                    <a:pt x="117" y="173"/>
                    <a:pt x="108" y="173"/>
                    <a:pt x="99" y="173"/>
                  </a:cubicBezTo>
                  <a:cubicBezTo>
                    <a:pt x="99" y="173"/>
                    <a:pt x="98" y="171"/>
                    <a:pt x="98" y="171"/>
                  </a:cubicBezTo>
                  <a:cubicBezTo>
                    <a:pt x="100" y="164"/>
                    <a:pt x="101" y="157"/>
                    <a:pt x="103" y="150"/>
                  </a:cubicBezTo>
                  <a:cubicBezTo>
                    <a:pt x="103" y="149"/>
                    <a:pt x="102" y="148"/>
                    <a:pt x="102" y="148"/>
                  </a:cubicBezTo>
                  <a:cubicBezTo>
                    <a:pt x="92" y="148"/>
                    <a:pt x="83" y="148"/>
                    <a:pt x="73" y="148"/>
                  </a:cubicBezTo>
                  <a:close/>
                  <a:moveTo>
                    <a:pt x="333" y="118"/>
                  </a:moveTo>
                  <a:cubicBezTo>
                    <a:pt x="342" y="118"/>
                    <a:pt x="350" y="118"/>
                    <a:pt x="359" y="118"/>
                  </a:cubicBezTo>
                  <a:cubicBezTo>
                    <a:pt x="359" y="118"/>
                    <a:pt x="360" y="118"/>
                    <a:pt x="360" y="118"/>
                  </a:cubicBezTo>
                  <a:cubicBezTo>
                    <a:pt x="360" y="117"/>
                    <a:pt x="360" y="117"/>
                    <a:pt x="360" y="116"/>
                  </a:cubicBezTo>
                  <a:cubicBezTo>
                    <a:pt x="332" y="86"/>
                    <a:pt x="299" y="66"/>
                    <a:pt x="259" y="56"/>
                  </a:cubicBezTo>
                  <a:cubicBezTo>
                    <a:pt x="259" y="56"/>
                    <a:pt x="258" y="56"/>
                    <a:pt x="258" y="56"/>
                  </a:cubicBezTo>
                  <a:cubicBezTo>
                    <a:pt x="258" y="56"/>
                    <a:pt x="258" y="57"/>
                    <a:pt x="259" y="57"/>
                  </a:cubicBezTo>
                  <a:cubicBezTo>
                    <a:pt x="278" y="74"/>
                    <a:pt x="293" y="94"/>
                    <a:pt x="305" y="116"/>
                  </a:cubicBezTo>
                  <a:cubicBezTo>
                    <a:pt x="305" y="117"/>
                    <a:pt x="307" y="118"/>
                    <a:pt x="308" y="118"/>
                  </a:cubicBezTo>
                  <a:cubicBezTo>
                    <a:pt x="316" y="118"/>
                    <a:pt x="325" y="118"/>
                    <a:pt x="333" y="118"/>
                  </a:cubicBezTo>
                  <a:close/>
                  <a:moveTo>
                    <a:pt x="90" y="118"/>
                  </a:moveTo>
                  <a:cubicBezTo>
                    <a:pt x="98" y="118"/>
                    <a:pt x="106" y="118"/>
                    <a:pt x="113" y="118"/>
                  </a:cubicBezTo>
                  <a:cubicBezTo>
                    <a:pt x="114" y="118"/>
                    <a:pt x="116" y="117"/>
                    <a:pt x="116" y="116"/>
                  </a:cubicBezTo>
                  <a:cubicBezTo>
                    <a:pt x="127" y="95"/>
                    <a:pt x="140" y="76"/>
                    <a:pt x="157" y="59"/>
                  </a:cubicBezTo>
                  <a:cubicBezTo>
                    <a:pt x="158" y="59"/>
                    <a:pt x="158" y="58"/>
                    <a:pt x="158" y="58"/>
                  </a:cubicBezTo>
                  <a:cubicBezTo>
                    <a:pt x="158" y="58"/>
                    <a:pt x="157" y="58"/>
                    <a:pt x="157" y="58"/>
                  </a:cubicBezTo>
                  <a:cubicBezTo>
                    <a:pt x="121" y="69"/>
                    <a:pt x="90" y="88"/>
                    <a:pt x="65" y="116"/>
                  </a:cubicBezTo>
                  <a:cubicBezTo>
                    <a:pt x="65" y="117"/>
                    <a:pt x="65" y="117"/>
                    <a:pt x="64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74" y="118"/>
                    <a:pt x="82" y="118"/>
                    <a:pt x="90" y="118"/>
                  </a:cubicBezTo>
                  <a:close/>
                  <a:moveTo>
                    <a:pt x="247" y="118"/>
                  </a:moveTo>
                  <a:cubicBezTo>
                    <a:pt x="255" y="118"/>
                    <a:pt x="262" y="118"/>
                    <a:pt x="269" y="118"/>
                  </a:cubicBezTo>
                  <a:cubicBezTo>
                    <a:pt x="270" y="118"/>
                    <a:pt x="270" y="117"/>
                    <a:pt x="270" y="116"/>
                  </a:cubicBezTo>
                  <a:cubicBezTo>
                    <a:pt x="258" y="98"/>
                    <a:pt x="244" y="81"/>
                    <a:pt x="225" y="68"/>
                  </a:cubicBezTo>
                  <a:cubicBezTo>
                    <a:pt x="225" y="68"/>
                    <a:pt x="224" y="68"/>
                    <a:pt x="224" y="67"/>
                  </a:cubicBezTo>
                  <a:cubicBezTo>
                    <a:pt x="224" y="68"/>
                    <a:pt x="224" y="69"/>
                    <a:pt x="224" y="69"/>
                  </a:cubicBezTo>
                  <a:cubicBezTo>
                    <a:pt x="224" y="85"/>
                    <a:pt x="224" y="100"/>
                    <a:pt x="224" y="116"/>
                  </a:cubicBezTo>
                  <a:cubicBezTo>
                    <a:pt x="224" y="117"/>
                    <a:pt x="225" y="118"/>
                    <a:pt x="225" y="118"/>
                  </a:cubicBezTo>
                  <a:cubicBezTo>
                    <a:pt x="233" y="118"/>
                    <a:pt x="240" y="118"/>
                    <a:pt x="247" y="118"/>
                  </a:cubicBezTo>
                  <a:close/>
                  <a:moveTo>
                    <a:pt x="194" y="93"/>
                  </a:moveTo>
                  <a:cubicBezTo>
                    <a:pt x="194" y="85"/>
                    <a:pt x="194" y="78"/>
                    <a:pt x="194" y="70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3" y="68"/>
                    <a:pt x="192" y="68"/>
                    <a:pt x="192" y="69"/>
                  </a:cubicBezTo>
                  <a:cubicBezTo>
                    <a:pt x="175" y="82"/>
                    <a:pt x="161" y="98"/>
                    <a:pt x="150" y="116"/>
                  </a:cubicBezTo>
                  <a:cubicBezTo>
                    <a:pt x="150" y="117"/>
                    <a:pt x="151" y="118"/>
                    <a:pt x="151" y="118"/>
                  </a:cubicBezTo>
                  <a:cubicBezTo>
                    <a:pt x="165" y="118"/>
                    <a:pt x="179" y="118"/>
                    <a:pt x="192" y="118"/>
                  </a:cubicBezTo>
                  <a:cubicBezTo>
                    <a:pt x="193" y="118"/>
                    <a:pt x="194" y="117"/>
                    <a:pt x="194" y="116"/>
                  </a:cubicBezTo>
                  <a:cubicBezTo>
                    <a:pt x="194" y="108"/>
                    <a:pt x="194" y="101"/>
                    <a:pt x="194" y="9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="" xmlns:a16="http://schemas.microsoft.com/office/drawing/2014/main" id="{575115B3-4C7D-4A6F-93E9-3A63D5591B69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3951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4 h 73"/>
                <a:gd name="T12" fmla="*/ 32 w 124"/>
                <a:gd name="T13" fmla="*/ 73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1 h 73"/>
                <a:gd name="T24" fmla="*/ 34 w 124"/>
                <a:gd name="T25" fmla="*/ 49 h 73"/>
                <a:gd name="T26" fmla="*/ 37 w 124"/>
                <a:gd name="T27" fmla="*/ 42 h 73"/>
                <a:gd name="T28" fmla="*/ 47 w 124"/>
                <a:gd name="T29" fmla="*/ 11 h 73"/>
                <a:gd name="T30" fmla="*/ 62 w 124"/>
                <a:gd name="T31" fmla="*/ 1 h 73"/>
                <a:gd name="T32" fmla="*/ 76 w 124"/>
                <a:gd name="T33" fmla="*/ 11 h 73"/>
                <a:gd name="T34" fmla="*/ 89 w 124"/>
                <a:gd name="T35" fmla="*/ 47 h 73"/>
                <a:gd name="T36" fmla="*/ 90 w 124"/>
                <a:gd name="T37" fmla="*/ 49 h 73"/>
                <a:gd name="T38" fmla="*/ 90 w 124"/>
                <a:gd name="T39" fmla="*/ 47 h 73"/>
                <a:gd name="T40" fmla="*/ 101 w 124"/>
                <a:gd name="T41" fmla="*/ 10 h 73"/>
                <a:gd name="T42" fmla="*/ 113 w 124"/>
                <a:gd name="T43" fmla="*/ 1 h 73"/>
                <a:gd name="T44" fmla="*/ 121 w 124"/>
                <a:gd name="T45" fmla="*/ 13 h 73"/>
                <a:gd name="T46" fmla="*/ 104 w 124"/>
                <a:gd name="T47" fmla="*/ 63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7" y="37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7"/>
                    <a:pt x="51" y="50"/>
                    <a:pt x="46" y="64"/>
                  </a:cubicBezTo>
                  <a:cubicBezTo>
                    <a:pt x="44" y="70"/>
                    <a:pt x="40" y="73"/>
                    <a:pt x="32" y="73"/>
                  </a:cubicBezTo>
                  <a:cubicBezTo>
                    <a:pt x="25" y="72"/>
                    <a:pt x="21" y="69"/>
                    <a:pt x="19" y="63"/>
                  </a:cubicBezTo>
                  <a:cubicBezTo>
                    <a:pt x="13" y="47"/>
                    <a:pt x="8" y="30"/>
                    <a:pt x="2" y="14"/>
                  </a:cubicBezTo>
                  <a:cubicBezTo>
                    <a:pt x="0" y="8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8"/>
                    <a:pt x="28" y="30"/>
                    <a:pt x="31" y="41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7" y="11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69" y="1"/>
                    <a:pt x="73" y="4"/>
                    <a:pt x="76" y="11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9"/>
                    <a:pt x="90" y="49"/>
                  </a:cubicBezTo>
                  <a:cubicBezTo>
                    <a:pt x="90" y="48"/>
                    <a:pt x="90" y="48"/>
                    <a:pt x="90" y="47"/>
                  </a:cubicBezTo>
                  <a:cubicBezTo>
                    <a:pt x="94" y="35"/>
                    <a:pt x="97" y="23"/>
                    <a:pt x="101" y="10"/>
                  </a:cubicBezTo>
                  <a:cubicBezTo>
                    <a:pt x="103" y="3"/>
                    <a:pt x="106" y="1"/>
                    <a:pt x="113" y="1"/>
                  </a:cubicBezTo>
                  <a:cubicBezTo>
                    <a:pt x="121" y="2"/>
                    <a:pt x="124" y="6"/>
                    <a:pt x="121" y="13"/>
                  </a:cubicBezTo>
                  <a:cubicBezTo>
                    <a:pt x="116" y="30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="" xmlns:a16="http://schemas.microsoft.com/office/drawing/2014/main" id="{CFB7063B-0DFA-4BB9-957F-7F068926E5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6838" y="952500"/>
              <a:ext cx="617538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3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7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6 h 73"/>
                <a:gd name="T22" fmla="*/ 31 w 124"/>
                <a:gd name="T23" fmla="*/ 40 h 73"/>
                <a:gd name="T24" fmla="*/ 33 w 124"/>
                <a:gd name="T25" fmla="*/ 48 h 73"/>
                <a:gd name="T26" fmla="*/ 34 w 124"/>
                <a:gd name="T27" fmla="*/ 49 h 73"/>
                <a:gd name="T28" fmla="*/ 35 w 124"/>
                <a:gd name="T29" fmla="*/ 48 h 73"/>
                <a:gd name="T30" fmla="*/ 47 w 124"/>
                <a:gd name="T31" fmla="*/ 12 h 73"/>
                <a:gd name="T32" fmla="*/ 62 w 124"/>
                <a:gd name="T33" fmla="*/ 1 h 73"/>
                <a:gd name="T34" fmla="*/ 76 w 124"/>
                <a:gd name="T35" fmla="*/ 12 h 73"/>
                <a:gd name="T36" fmla="*/ 89 w 124"/>
                <a:gd name="T37" fmla="*/ 48 h 73"/>
                <a:gd name="T38" fmla="*/ 90 w 124"/>
                <a:gd name="T39" fmla="*/ 49 h 73"/>
                <a:gd name="T40" fmla="*/ 90 w 124"/>
                <a:gd name="T41" fmla="*/ 48 h 73"/>
                <a:gd name="T42" fmla="*/ 101 w 124"/>
                <a:gd name="T43" fmla="*/ 10 h 73"/>
                <a:gd name="T44" fmla="*/ 112 w 124"/>
                <a:gd name="T45" fmla="*/ 1 h 73"/>
                <a:gd name="T46" fmla="*/ 121 w 124"/>
                <a:gd name="T47" fmla="*/ 14 h 73"/>
                <a:gd name="T48" fmla="*/ 104 w 124"/>
                <a:gd name="T49" fmla="*/ 63 h 73"/>
                <a:gd name="T50" fmla="*/ 90 w 124"/>
                <a:gd name="T51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3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3" y="22"/>
                    <a:pt x="62" y="22"/>
                    <a:pt x="62" y="21"/>
                  </a:cubicBezTo>
                  <a:cubicBezTo>
                    <a:pt x="62" y="22"/>
                    <a:pt x="61" y="22"/>
                    <a:pt x="61" y="23"/>
                  </a:cubicBezTo>
                  <a:cubicBezTo>
                    <a:pt x="56" y="36"/>
                    <a:pt x="52" y="50"/>
                    <a:pt x="47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9"/>
                    <a:pt x="0" y="5"/>
                    <a:pt x="6" y="2"/>
                  </a:cubicBezTo>
                  <a:cubicBezTo>
                    <a:pt x="12" y="0"/>
                    <a:pt x="19" y="1"/>
                    <a:pt x="21" y="6"/>
                  </a:cubicBezTo>
                  <a:cubicBezTo>
                    <a:pt x="25" y="17"/>
                    <a:pt x="28" y="29"/>
                    <a:pt x="31" y="40"/>
                  </a:cubicBezTo>
                  <a:cubicBezTo>
                    <a:pt x="32" y="42"/>
                    <a:pt x="33" y="45"/>
                    <a:pt x="33" y="48"/>
                  </a:cubicBezTo>
                  <a:cubicBezTo>
                    <a:pt x="33" y="48"/>
                    <a:pt x="34" y="49"/>
                    <a:pt x="34" y="49"/>
                  </a:cubicBezTo>
                  <a:cubicBezTo>
                    <a:pt x="34" y="49"/>
                    <a:pt x="34" y="48"/>
                    <a:pt x="35" y="48"/>
                  </a:cubicBezTo>
                  <a:cubicBezTo>
                    <a:pt x="39" y="36"/>
                    <a:pt x="43" y="24"/>
                    <a:pt x="47" y="12"/>
                  </a:cubicBezTo>
                  <a:cubicBezTo>
                    <a:pt x="50" y="4"/>
                    <a:pt x="54" y="1"/>
                    <a:pt x="62" y="1"/>
                  </a:cubicBezTo>
                  <a:cubicBezTo>
                    <a:pt x="70" y="1"/>
                    <a:pt x="73" y="4"/>
                    <a:pt x="76" y="12"/>
                  </a:cubicBezTo>
                  <a:cubicBezTo>
                    <a:pt x="81" y="23"/>
                    <a:pt x="85" y="36"/>
                    <a:pt x="89" y="48"/>
                  </a:cubicBezTo>
                  <a:cubicBezTo>
                    <a:pt x="89" y="48"/>
                    <a:pt x="90" y="49"/>
                    <a:pt x="90" y="49"/>
                  </a:cubicBezTo>
                  <a:cubicBezTo>
                    <a:pt x="90" y="49"/>
                    <a:pt x="90" y="48"/>
                    <a:pt x="90" y="48"/>
                  </a:cubicBezTo>
                  <a:cubicBezTo>
                    <a:pt x="94" y="35"/>
                    <a:pt x="98" y="23"/>
                    <a:pt x="101" y="10"/>
                  </a:cubicBezTo>
                  <a:cubicBezTo>
                    <a:pt x="103" y="5"/>
                    <a:pt x="106" y="2"/>
                    <a:pt x="112" y="1"/>
                  </a:cubicBezTo>
                  <a:cubicBezTo>
                    <a:pt x="121" y="1"/>
                    <a:pt x="124" y="6"/>
                    <a:pt x="121" y="14"/>
                  </a:cubicBezTo>
                  <a:cubicBezTo>
                    <a:pt x="116" y="31"/>
                    <a:pt x="110" y="47"/>
                    <a:pt x="104" y="63"/>
                  </a:cubicBezTo>
                  <a:cubicBezTo>
                    <a:pt x="102" y="70"/>
                    <a:pt x="98" y="72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="" xmlns:a16="http://schemas.microsoft.com/office/drawing/2014/main" id="{131A025F-51C1-46B8-8513-E958EFF869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1188" y="952500"/>
              <a:ext cx="615950" cy="363538"/>
            </a:xfrm>
            <a:custGeom>
              <a:avLst/>
              <a:gdLst>
                <a:gd name="T0" fmla="*/ 90 w 124"/>
                <a:gd name="T1" fmla="*/ 72 h 73"/>
                <a:gd name="T2" fmla="*/ 77 w 124"/>
                <a:gd name="T3" fmla="*/ 64 h 73"/>
                <a:gd name="T4" fmla="*/ 63 w 124"/>
                <a:gd name="T5" fmla="*/ 23 h 73"/>
                <a:gd name="T6" fmla="*/ 62 w 124"/>
                <a:gd name="T7" fmla="*/ 21 h 73"/>
                <a:gd name="T8" fmla="*/ 61 w 124"/>
                <a:gd name="T9" fmla="*/ 23 h 73"/>
                <a:gd name="T10" fmla="*/ 46 w 124"/>
                <a:gd name="T11" fmla="*/ 63 h 73"/>
                <a:gd name="T12" fmla="*/ 32 w 124"/>
                <a:gd name="T13" fmla="*/ 72 h 73"/>
                <a:gd name="T14" fmla="*/ 19 w 124"/>
                <a:gd name="T15" fmla="*/ 63 h 73"/>
                <a:gd name="T16" fmla="*/ 2 w 124"/>
                <a:gd name="T17" fmla="*/ 14 h 73"/>
                <a:gd name="T18" fmla="*/ 6 w 124"/>
                <a:gd name="T19" fmla="*/ 2 h 73"/>
                <a:gd name="T20" fmla="*/ 21 w 124"/>
                <a:gd name="T21" fmla="*/ 7 h 73"/>
                <a:gd name="T22" fmla="*/ 31 w 124"/>
                <a:gd name="T23" fmla="*/ 42 h 73"/>
                <a:gd name="T24" fmla="*/ 34 w 124"/>
                <a:gd name="T25" fmla="*/ 49 h 73"/>
                <a:gd name="T26" fmla="*/ 37 w 124"/>
                <a:gd name="T27" fmla="*/ 42 h 73"/>
                <a:gd name="T28" fmla="*/ 48 w 124"/>
                <a:gd name="T29" fmla="*/ 10 h 73"/>
                <a:gd name="T30" fmla="*/ 62 w 124"/>
                <a:gd name="T31" fmla="*/ 1 h 73"/>
                <a:gd name="T32" fmla="*/ 76 w 124"/>
                <a:gd name="T33" fmla="*/ 10 h 73"/>
                <a:gd name="T34" fmla="*/ 89 w 124"/>
                <a:gd name="T35" fmla="*/ 47 h 73"/>
                <a:gd name="T36" fmla="*/ 90 w 124"/>
                <a:gd name="T37" fmla="*/ 49 h 73"/>
                <a:gd name="T38" fmla="*/ 91 w 124"/>
                <a:gd name="T39" fmla="*/ 47 h 73"/>
                <a:gd name="T40" fmla="*/ 101 w 124"/>
                <a:gd name="T41" fmla="*/ 10 h 73"/>
                <a:gd name="T42" fmla="*/ 116 w 124"/>
                <a:gd name="T43" fmla="*/ 2 h 73"/>
                <a:gd name="T44" fmla="*/ 122 w 124"/>
                <a:gd name="T45" fmla="*/ 12 h 73"/>
                <a:gd name="T46" fmla="*/ 104 w 124"/>
                <a:gd name="T47" fmla="*/ 65 h 73"/>
                <a:gd name="T48" fmla="*/ 90 w 124"/>
                <a:gd name="T49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4" h="73">
                  <a:moveTo>
                    <a:pt x="90" y="72"/>
                  </a:moveTo>
                  <a:cubicBezTo>
                    <a:pt x="84" y="73"/>
                    <a:pt x="79" y="70"/>
                    <a:pt x="77" y="64"/>
                  </a:cubicBezTo>
                  <a:cubicBezTo>
                    <a:pt x="72" y="50"/>
                    <a:pt x="68" y="36"/>
                    <a:pt x="63" y="23"/>
                  </a:cubicBezTo>
                  <a:cubicBezTo>
                    <a:pt x="62" y="22"/>
                    <a:pt x="62" y="22"/>
                    <a:pt x="62" y="21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56" y="36"/>
                    <a:pt x="51" y="50"/>
                    <a:pt x="46" y="63"/>
                  </a:cubicBezTo>
                  <a:cubicBezTo>
                    <a:pt x="44" y="70"/>
                    <a:pt x="40" y="73"/>
                    <a:pt x="32" y="72"/>
                  </a:cubicBezTo>
                  <a:cubicBezTo>
                    <a:pt x="25" y="72"/>
                    <a:pt x="22" y="70"/>
                    <a:pt x="19" y="63"/>
                  </a:cubicBezTo>
                  <a:cubicBezTo>
                    <a:pt x="13" y="46"/>
                    <a:pt x="8" y="30"/>
                    <a:pt x="2" y="14"/>
                  </a:cubicBezTo>
                  <a:cubicBezTo>
                    <a:pt x="0" y="7"/>
                    <a:pt x="1" y="4"/>
                    <a:pt x="6" y="2"/>
                  </a:cubicBezTo>
                  <a:cubicBezTo>
                    <a:pt x="12" y="0"/>
                    <a:pt x="19" y="2"/>
                    <a:pt x="21" y="7"/>
                  </a:cubicBezTo>
                  <a:cubicBezTo>
                    <a:pt x="25" y="19"/>
                    <a:pt x="28" y="30"/>
                    <a:pt x="31" y="42"/>
                  </a:cubicBezTo>
                  <a:cubicBezTo>
                    <a:pt x="32" y="44"/>
                    <a:pt x="33" y="47"/>
                    <a:pt x="34" y="49"/>
                  </a:cubicBezTo>
                  <a:cubicBezTo>
                    <a:pt x="35" y="47"/>
                    <a:pt x="36" y="44"/>
                    <a:pt x="37" y="42"/>
                  </a:cubicBezTo>
                  <a:cubicBezTo>
                    <a:pt x="40" y="31"/>
                    <a:pt x="44" y="21"/>
                    <a:pt x="48" y="10"/>
                  </a:cubicBezTo>
                  <a:cubicBezTo>
                    <a:pt x="50" y="3"/>
                    <a:pt x="55" y="1"/>
                    <a:pt x="62" y="1"/>
                  </a:cubicBezTo>
                  <a:cubicBezTo>
                    <a:pt x="69" y="1"/>
                    <a:pt x="73" y="4"/>
                    <a:pt x="76" y="10"/>
                  </a:cubicBezTo>
                  <a:cubicBezTo>
                    <a:pt x="80" y="23"/>
                    <a:pt x="84" y="35"/>
                    <a:pt x="89" y="47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8"/>
                    <a:pt x="90" y="48"/>
                    <a:pt x="91" y="47"/>
                  </a:cubicBezTo>
                  <a:cubicBezTo>
                    <a:pt x="94" y="35"/>
                    <a:pt x="98" y="22"/>
                    <a:pt x="101" y="10"/>
                  </a:cubicBezTo>
                  <a:cubicBezTo>
                    <a:pt x="103" y="3"/>
                    <a:pt x="108" y="0"/>
                    <a:pt x="116" y="2"/>
                  </a:cubicBezTo>
                  <a:cubicBezTo>
                    <a:pt x="121" y="3"/>
                    <a:pt x="124" y="7"/>
                    <a:pt x="122" y="12"/>
                  </a:cubicBezTo>
                  <a:cubicBezTo>
                    <a:pt x="116" y="30"/>
                    <a:pt x="110" y="47"/>
                    <a:pt x="104" y="65"/>
                  </a:cubicBezTo>
                  <a:cubicBezTo>
                    <a:pt x="101" y="71"/>
                    <a:pt x="97" y="73"/>
                    <a:pt x="90" y="7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de-DE" sz="1350">
                <a:solidFill>
                  <a:prstClr val="black"/>
                </a:solidFill>
              </a:endParaRPr>
            </a:p>
          </p:txBody>
        </p:sp>
      </p:grpSp>
      <p:sp>
        <p:nvSpPr>
          <p:cNvPr id="51" name="TextBox 7">
            <a:extLst>
              <a:ext uri="{FF2B5EF4-FFF2-40B4-BE49-F238E27FC236}">
                <a16:creationId xmlns="" xmlns:a16="http://schemas.microsoft.com/office/drawing/2014/main" id="{D24B1108-EDD6-417B-A36D-F3867011F0AB}"/>
              </a:ext>
            </a:extLst>
          </p:cNvPr>
          <p:cNvSpPr txBox="1"/>
          <p:nvPr userDrawn="1"/>
        </p:nvSpPr>
        <p:spPr bwMode="gray">
          <a:xfrm>
            <a:off x="2622199" y="5403598"/>
            <a:ext cx="17732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twitter.com/giz_gmbh</a:t>
            </a:r>
          </a:p>
        </p:txBody>
      </p:sp>
      <p:sp>
        <p:nvSpPr>
          <p:cNvPr id="52" name="TextBox 7">
            <a:extLst>
              <a:ext uri="{FF2B5EF4-FFF2-40B4-BE49-F238E27FC236}">
                <a16:creationId xmlns="" xmlns:a16="http://schemas.microsoft.com/office/drawing/2014/main" id="{D1A27A20-93C4-43EC-9799-1798AF93C848}"/>
              </a:ext>
            </a:extLst>
          </p:cNvPr>
          <p:cNvSpPr txBox="1"/>
          <p:nvPr userDrawn="1"/>
        </p:nvSpPr>
        <p:spPr bwMode="gray">
          <a:xfrm>
            <a:off x="5253681" y="5403598"/>
            <a:ext cx="22557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spcBef>
                <a:spcPts val="2400"/>
              </a:spcBef>
              <a:buClr>
                <a:srgbClr val="C00000"/>
              </a:buClr>
            </a:pPr>
            <a:r>
              <a:rPr lang="de-DE" sz="1000" dirty="0">
                <a:solidFill>
                  <a:prstClr val="black">
                    <a:lumMod val="75000"/>
                    <a:lumOff val="25000"/>
                  </a:prstClr>
                </a:solidFill>
              </a:rPr>
              <a:t>https://www.facebook.com/gizprofile/</a:t>
            </a:r>
          </a:p>
        </p:txBody>
      </p:sp>
    </p:spTree>
    <p:extLst>
      <p:ext uri="{BB962C8B-B14F-4D97-AF65-F5344CB8AC3E}">
        <p14:creationId xmlns:p14="http://schemas.microsoft.com/office/powerpoint/2010/main" val="134002427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5601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grpSp>
        <p:nvGrpSpPr>
          <p:cNvPr id="6" name="Key Visual">
            <a:extLst>
              <a:ext uri="{FF2B5EF4-FFF2-40B4-BE49-F238E27FC236}">
                <a16:creationId xmlns="" xmlns:a16="http://schemas.microsoft.com/office/drawing/2014/main" id="{77156747-85E7-4ED4-B2ED-42ABA70FA613}"/>
              </a:ext>
            </a:extLst>
          </p:cNvPr>
          <p:cNvGrpSpPr/>
          <p:nvPr userDrawn="1"/>
        </p:nvGrpSpPr>
        <p:grpSpPr bwMode="gray">
          <a:xfrm flipV="1">
            <a:off x="123135" y="5311119"/>
            <a:ext cx="2320828" cy="822639"/>
            <a:chOff x="4846637" y="119557"/>
            <a:chExt cx="3783013" cy="1005693"/>
          </a:xfrm>
        </p:grpSpPr>
        <p:sp>
          <p:nvSpPr>
            <p:cNvPr id="7" name="Freihandform: Form 6">
              <a:extLst>
                <a:ext uri="{FF2B5EF4-FFF2-40B4-BE49-F238E27FC236}">
                  <a16:creationId xmlns="" xmlns:a16="http://schemas.microsoft.com/office/drawing/2014/main" id="{2E6C23C4-9083-4866-858D-0C04644D965B}"/>
                </a:ext>
              </a:extLst>
            </p:cNvPr>
            <p:cNvSpPr/>
            <p:nvPr userDrawn="1"/>
          </p:nvSpPr>
          <p:spPr bwMode="gray">
            <a:xfrm>
              <a:off x="4846637" y="119557"/>
              <a:ext cx="3783013" cy="1003198"/>
            </a:xfrm>
            <a:custGeom>
              <a:avLst/>
              <a:gdLst>
                <a:gd name="connsiteX0" fmla="*/ 0 w 6644156"/>
                <a:gd name="connsiteY0" fmla="*/ 0 h 1761930"/>
                <a:gd name="connsiteX1" fmla="*/ 6644156 w 6644156"/>
                <a:gd name="connsiteY1" fmla="*/ 0 h 1761930"/>
                <a:gd name="connsiteX2" fmla="*/ 5593080 w 6644156"/>
                <a:gd name="connsiteY2" fmla="*/ 838200 h 1761930"/>
                <a:gd name="connsiteX3" fmla="*/ 4465320 w 6644156"/>
                <a:gd name="connsiteY3" fmla="*/ 426720 h 1761930"/>
                <a:gd name="connsiteX4" fmla="*/ 934433 w 6644156"/>
                <a:gd name="connsiteY4" fmla="*/ 1761930 h 1761930"/>
                <a:gd name="connsiteX5" fmla="*/ 0 w 6644156"/>
                <a:gd name="connsiteY5" fmla="*/ 1052662 h 17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44156" h="1761930">
                  <a:moveTo>
                    <a:pt x="0" y="0"/>
                  </a:moveTo>
                  <a:lnTo>
                    <a:pt x="6644156" y="0"/>
                  </a:lnTo>
                  <a:lnTo>
                    <a:pt x="5593080" y="838200"/>
                  </a:lnTo>
                  <a:lnTo>
                    <a:pt x="4465320" y="426720"/>
                  </a:lnTo>
                  <a:lnTo>
                    <a:pt x="934433" y="1761930"/>
                  </a:lnTo>
                  <a:lnTo>
                    <a:pt x="0" y="1052662"/>
                  </a:lnTo>
                  <a:close/>
                </a:path>
              </a:pathLst>
            </a:custGeom>
            <a:blipFill>
              <a:blip r:embed="rId2"/>
              <a:srcRect/>
              <a:stretch>
                <a:fillRect l="-225" r="-225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="" xmlns:a16="http://schemas.microsoft.com/office/drawing/2014/main" id="{FB0BB156-07F2-4B83-B5A7-E91DE0017F5B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1036212" cy="1005693"/>
            </a:xfrm>
            <a:custGeom>
              <a:avLst/>
              <a:gdLst>
                <a:gd name="connsiteX0" fmla="*/ 0 w 1978500"/>
                <a:gd name="connsiteY0" fmla="*/ 0 h 1920227"/>
                <a:gd name="connsiteX1" fmla="*/ 1978500 w 1978500"/>
                <a:gd name="connsiteY1" fmla="*/ 0 h 1920227"/>
                <a:gd name="connsiteX2" fmla="*/ 876998 w 1978500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78500" h="1920227">
                  <a:moveTo>
                    <a:pt x="0" y="0"/>
                  </a:moveTo>
                  <a:lnTo>
                    <a:pt x="1978500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="" xmlns:a16="http://schemas.microsoft.com/office/drawing/2014/main" id="{86502DB2-D1D5-44BB-955E-FA20933B0C5A}"/>
                </a:ext>
              </a:extLst>
            </p:cNvPr>
            <p:cNvSpPr/>
            <p:nvPr userDrawn="1"/>
          </p:nvSpPr>
          <p:spPr bwMode="gray">
            <a:xfrm>
              <a:off x="7610197" y="119557"/>
              <a:ext cx="508146" cy="477657"/>
            </a:xfrm>
            <a:custGeom>
              <a:avLst/>
              <a:gdLst>
                <a:gd name="connsiteX0" fmla="*/ 0 w 970232"/>
                <a:gd name="connsiteY0" fmla="*/ 0 h 912018"/>
                <a:gd name="connsiteX1" fmla="*/ 970232 w 970232"/>
                <a:gd name="connsiteY1" fmla="*/ 0 h 912018"/>
                <a:gd name="connsiteX2" fmla="*/ 804720 w 970232"/>
                <a:gd name="connsiteY2" fmla="*/ 912018 h 912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0232" h="912018">
                  <a:moveTo>
                    <a:pt x="0" y="0"/>
                  </a:moveTo>
                  <a:lnTo>
                    <a:pt x="970232" y="0"/>
                  </a:lnTo>
                  <a:lnTo>
                    <a:pt x="804720" y="912018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Freihandform: Form 9">
              <a:extLst>
                <a:ext uri="{FF2B5EF4-FFF2-40B4-BE49-F238E27FC236}">
                  <a16:creationId xmlns="" xmlns:a16="http://schemas.microsoft.com/office/drawing/2014/main" id="{A25DFF6E-FE1D-49A8-A873-770951547FF1}"/>
                </a:ext>
              </a:extLst>
            </p:cNvPr>
            <p:cNvSpPr/>
            <p:nvPr userDrawn="1"/>
          </p:nvSpPr>
          <p:spPr bwMode="gray">
            <a:xfrm flipH="1">
              <a:off x="7164646" y="119557"/>
              <a:ext cx="951008" cy="481890"/>
            </a:xfrm>
            <a:custGeom>
              <a:avLst/>
              <a:gdLst>
                <a:gd name="connsiteX0" fmla="*/ 1815814 w 1815814"/>
                <a:gd name="connsiteY0" fmla="*/ 0 h 920101"/>
                <a:gd name="connsiteX1" fmla="*/ 0 w 1815814"/>
                <a:gd name="connsiteY1" fmla="*/ 0 h 920101"/>
                <a:gd name="connsiteX2" fmla="*/ 161054 w 1815814"/>
                <a:gd name="connsiteY2" fmla="*/ 920101 h 920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15814" h="920101">
                  <a:moveTo>
                    <a:pt x="1815814" y="0"/>
                  </a:moveTo>
                  <a:lnTo>
                    <a:pt x="0" y="0"/>
                  </a:lnTo>
                  <a:lnTo>
                    <a:pt x="161054" y="920101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="" xmlns:a16="http://schemas.microsoft.com/office/drawing/2014/main" id="{8E38456C-C414-4CEB-A953-0F72775B0C83}"/>
                </a:ext>
              </a:extLst>
            </p:cNvPr>
            <p:cNvSpPr/>
            <p:nvPr userDrawn="1"/>
          </p:nvSpPr>
          <p:spPr bwMode="gray">
            <a:xfrm>
              <a:off x="4920060" y="119557"/>
              <a:ext cx="2146640" cy="1005693"/>
            </a:xfrm>
            <a:custGeom>
              <a:avLst/>
              <a:gdLst>
                <a:gd name="connsiteX0" fmla="*/ 0 w 4098704"/>
                <a:gd name="connsiteY0" fmla="*/ 0 h 1920227"/>
                <a:gd name="connsiteX1" fmla="*/ 4098704 w 4098704"/>
                <a:gd name="connsiteY1" fmla="*/ 0 h 1920227"/>
                <a:gd name="connsiteX2" fmla="*/ 876998 w 4098704"/>
                <a:gd name="connsiteY2" fmla="*/ 1920227 h 1920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98704" h="1920227">
                  <a:moveTo>
                    <a:pt x="0" y="0"/>
                  </a:moveTo>
                  <a:lnTo>
                    <a:pt x="4098704" y="0"/>
                  </a:lnTo>
                  <a:lnTo>
                    <a:pt x="876998" y="1920227"/>
                  </a:lnTo>
                  <a:close/>
                </a:path>
              </a:pathLst>
            </a:custGeom>
            <a:solidFill>
              <a:schemeClr val="bg1">
                <a:alpha val="4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950913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ress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="" xmlns:a16="http://schemas.microsoft.com/office/drawing/2014/main" id="{790F769E-F4C9-44EF-9773-070A28E48EF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007489" y="431341"/>
            <a:ext cx="4324497" cy="430887"/>
          </a:xfr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inweistext für Impressum: 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atzhaltertexte (Projekt-/Programmname, Anschrift, E-Mail etc.) bitte nach Bedarf anpassen/löschen. 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öschen Sie den Platzhalter für das logo des Kooperationspartners falls nicht passend.</a:t>
            </a:r>
            <a:b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de-DE" sz="700" b="0" i="0" u="none" strike="noStrike" kern="1200" cap="none" spc="0" normalizeH="0" baseline="0" noProof="0" dirty="0">
                <a:ln>
                  <a:noFill/>
                </a:ln>
                <a:solidFill>
                  <a:srgbClr val="C80F0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Dieser Hinweis ist im Präsentationsmodus nicht sichtbar und wird auch nicht ausgedruckt.)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="" xmlns:a16="http://schemas.microsoft.com/office/drawing/2014/main" id="{825FAA2D-10D4-4CD9-B9B7-92585570EFD8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B0246DFF-FEF2-46ED-9853-DC7A06FF89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de-DE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="" xmlns:a16="http://schemas.microsoft.com/office/drawing/2014/main" id="{8455B516-5F12-4FE2-A6E7-8A95B57A8AB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="" xmlns:a16="http://schemas.microsoft.com/office/drawing/2014/main" id="{8EF3C373-F3E5-423E-B3C3-C5E1BD203F77}"/>
              </a:ext>
            </a:extLst>
          </p:cNvPr>
          <p:cNvSpPr/>
          <p:nvPr userDrawn="1"/>
        </p:nvSpPr>
        <p:spPr bwMode="gray">
          <a:xfrm>
            <a:off x="450498" y="1475897"/>
            <a:ext cx="3214511" cy="1277273"/>
          </a:xfrm>
          <a:prstGeom prst="rect">
            <a:avLst/>
          </a:prstGeom>
        </p:spPr>
        <p:txBody>
          <a:bodyPr wrap="square" lIns="0" tIns="0">
            <a:spAutoFit/>
          </a:bodyPr>
          <a:lstStyle/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Als Bundesunternehmen unterstützt die GIZ </a:t>
            </a:r>
            <a:br>
              <a:rPr lang="de-DE" sz="800" kern="0" dirty="0">
                <a:solidFill>
                  <a:prstClr val="black"/>
                </a:solidFill>
              </a:rPr>
            </a:br>
            <a:r>
              <a:rPr lang="de-DE" sz="800" kern="0" dirty="0">
                <a:solidFill>
                  <a:prstClr val="black"/>
                </a:solidFill>
              </a:rPr>
              <a:t>die deutsche Bundesregierung bei der Erreichung ihrer Ziele </a:t>
            </a:r>
            <a:br>
              <a:rPr lang="de-DE" sz="800" kern="0" dirty="0">
                <a:solidFill>
                  <a:prstClr val="black"/>
                </a:solidFill>
              </a:rPr>
            </a:br>
            <a:r>
              <a:rPr lang="de-DE" sz="800" kern="0" dirty="0">
                <a:solidFill>
                  <a:prstClr val="black"/>
                </a:solidFill>
              </a:rPr>
              <a:t>in der Internationalen Zusammenarbeit für nachhaltige Entwicklung.</a:t>
            </a:r>
          </a:p>
          <a:p>
            <a:pPr>
              <a:defRPr/>
            </a:pPr>
            <a:endParaRPr lang="de-DE" sz="8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800" b="1" kern="0" dirty="0">
                <a:solidFill>
                  <a:prstClr val="black"/>
                </a:solidFill>
              </a:rPr>
              <a:t>Herausgeber: </a:t>
            </a: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Deutsche Gesellschaft für </a:t>
            </a: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Internationale Zusammenarbeit (GIZ) GmbH</a:t>
            </a:r>
          </a:p>
          <a:p>
            <a:pPr>
              <a:defRPr/>
            </a:pPr>
            <a:endParaRPr lang="de-DE" sz="8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Sitz der Gesellschaft </a:t>
            </a:r>
          </a:p>
          <a:p>
            <a:pPr>
              <a:defRPr/>
            </a:pPr>
            <a:r>
              <a:rPr lang="de-DE" sz="800" kern="0" dirty="0">
                <a:solidFill>
                  <a:prstClr val="black"/>
                </a:solidFill>
              </a:rPr>
              <a:t>Bonn und Eschborn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="" xmlns:a16="http://schemas.microsoft.com/office/drawing/2014/main" id="{24969EDD-4A06-4BE9-93A1-41E56B0411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50495" y="3397147"/>
            <a:ext cx="3464422" cy="2350191"/>
          </a:xfrm>
        </p:spPr>
        <p:txBody>
          <a:bodyPr/>
          <a:lstStyle>
            <a:lvl1pPr>
              <a:lnSpc>
                <a:spcPct val="100000"/>
              </a:lnSpc>
              <a:defRPr kumimoji="0" lang="de-DE" sz="8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>
              <a:buNone/>
              <a:def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>
              <a:defRPr kumimoji="0" lang="de-DE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="" xmlns:a16="http://schemas.microsoft.com/office/drawing/2014/main" id="{CF011E25-18E3-408D-87A2-25C927E6CD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4386541" y="1475897"/>
            <a:ext cx="3428177" cy="2494321"/>
          </a:xfrm>
        </p:spPr>
        <p:txBody>
          <a:bodyPr/>
          <a:lstStyle>
            <a:lvl1pPr>
              <a:lnSpc>
                <a:spcPct val="100000"/>
              </a:lnSpc>
              <a:defRPr kumimoji="0" lang="de-DE" sz="8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buNone/>
              <a:def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>
              <a:defRPr kumimoji="0" lang="de-DE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itel 4">
            <a:extLst>
              <a:ext uri="{FF2B5EF4-FFF2-40B4-BE49-F238E27FC236}">
                <a16:creationId xmlns="" xmlns:a16="http://schemas.microsoft.com/office/drawing/2014/main" id="{25948279-B0DD-4569-9447-FFB1B6C1C35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9820" y="320284"/>
            <a:ext cx="6765371" cy="720725"/>
          </a:xfrm>
          <a:prstGeom prst="rect">
            <a:avLst/>
          </a:prstGeom>
        </p:spPr>
        <p:txBody>
          <a:bodyPr vert="horz" lIns="0" tIns="0" rIns="72000" bIns="0" rtlCol="0" anchor="b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prstClr val="black"/>
                </a:solidFill>
              </a:rPr>
              <a:t>Impressum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="" xmlns:a16="http://schemas.microsoft.com/office/drawing/2014/main" id="{0D9D2269-B68A-4FB7-81ED-4D5317C4B88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86263" y="4276012"/>
            <a:ext cx="2278856" cy="147733"/>
          </a:xfrm>
        </p:spPr>
        <p:txBody>
          <a:bodyPr wrap="none" lIns="0">
            <a:noAutofit/>
          </a:bodyPr>
          <a:lstStyle>
            <a:lvl1pPr>
              <a:defRPr lang="de-DE" sz="800" smtClean="0">
                <a:solidFill>
                  <a:prstClr val="black"/>
                </a:solidFill>
              </a:defRPr>
            </a:lvl1pPr>
            <a:lvl2pPr>
              <a:defRPr lang="de-DE" sz="1350" smtClean="0"/>
            </a:lvl2pPr>
            <a:lvl3pPr>
              <a:defRPr lang="de-DE" sz="1350" smtClean="0"/>
            </a:lvl3pPr>
            <a:lvl4pPr>
              <a:defRPr lang="de-DE" smtClean="0"/>
            </a:lvl4pPr>
            <a:lvl5pPr>
              <a:defRPr lang="fr-FR"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1516505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nachweise und Quel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="" xmlns:a16="http://schemas.microsoft.com/office/drawing/2014/main" id="{24969EDD-4A06-4BE9-93A1-41E56B0411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50495" y="1475895"/>
            <a:ext cx="7172684" cy="4626708"/>
          </a:xfrm>
        </p:spPr>
        <p:txBody>
          <a:bodyPr numCol="2"/>
          <a:lstStyle>
            <a:lvl1pPr>
              <a:lnSpc>
                <a:spcPct val="100000"/>
              </a:lnSpc>
              <a:spcBef>
                <a:spcPts val="0"/>
              </a:spcBef>
              <a:defRPr kumimoji="0" lang="de-DE" sz="8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0" indent="0">
              <a:buNone/>
              <a:defRPr kumimoji="0" lang="de-DE" sz="8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3pPr>
            <a:lvl4pPr>
              <a:defRPr kumimoji="0" lang="de-DE" sz="1000" b="0" i="0" u="none" strike="noStrike" kern="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4pPr>
            <a:lvl5pPr>
              <a:defRPr kumimoji="0" lang="de-DE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="" xmlns:a16="http://schemas.microsoft.com/office/drawing/2014/main" id="{1BCACD76-7CB8-457E-9434-C57DB9E23AA9}"/>
              </a:ext>
            </a:extLst>
          </p:cNvPr>
          <p:cNvSpPr/>
          <p:nvPr userDrawn="1"/>
        </p:nvSpPr>
        <p:spPr bwMode="gray">
          <a:xfrm>
            <a:off x="777714" y="6535917"/>
            <a:ext cx="1084083" cy="213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de-DE" sz="1350" dirty="0" err="1">
              <a:solidFill>
                <a:prstClr val="white"/>
              </a:solidFill>
            </a:endParaRPr>
          </a:p>
        </p:txBody>
      </p:sp>
      <p:sp>
        <p:nvSpPr>
          <p:cNvPr id="12" name="Titel 4">
            <a:extLst>
              <a:ext uri="{FF2B5EF4-FFF2-40B4-BE49-F238E27FC236}">
                <a16:creationId xmlns="" xmlns:a16="http://schemas.microsoft.com/office/drawing/2014/main" id="{7C271A97-CC1D-481E-9972-CE4AD69C28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9820" y="320284"/>
            <a:ext cx="6765371" cy="720725"/>
          </a:xfrm>
          <a:prstGeom prst="rect">
            <a:avLst/>
          </a:prstGeom>
        </p:spPr>
        <p:txBody>
          <a:bodyPr vert="horz" lIns="0" tIns="0" rIns="72000" bIns="0" rtlCol="0" anchor="b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prstClr val="black"/>
                </a:solidFill>
              </a:rPr>
              <a:t>Fotonachweise / Quellen</a:t>
            </a:r>
          </a:p>
        </p:txBody>
      </p:sp>
    </p:spTree>
    <p:extLst>
      <p:ext uri="{BB962C8B-B14F-4D97-AF65-F5344CB8AC3E}">
        <p14:creationId xmlns:p14="http://schemas.microsoft.com/office/powerpoint/2010/main" val="28625681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 descr="Ein Bild, das Kette enthält.&#10;&#10;Automatisch generierte Beschreibung">
            <a:extLst>
              <a:ext uri="{FF2B5EF4-FFF2-40B4-BE49-F238E27FC236}">
                <a16:creationId xmlns="" xmlns:a16="http://schemas.microsoft.com/office/drawing/2014/main" id="{D27820A7-D571-4E28-A8CF-ADB17402AE97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t="233" b="15579"/>
          <a:stretch/>
        </p:blipFill>
        <p:spPr bwMode="gray">
          <a:xfrm>
            <a:off x="123138" y="165102"/>
            <a:ext cx="8893865" cy="5444047"/>
          </a:xfrm>
          <a:prstGeom prst="rect">
            <a:avLst/>
          </a:prstGeom>
        </p:spPr>
      </p:pic>
      <p:pic>
        <p:nvPicPr>
          <p:cNvPr id="12" name="Grafik 11" descr="Ein Bild, das Säge enthält.&#10;&#10;Automatisch generierte Beschreibung">
            <a:extLst>
              <a:ext uri="{FF2B5EF4-FFF2-40B4-BE49-F238E27FC236}">
                <a16:creationId xmlns="" xmlns:a16="http://schemas.microsoft.com/office/drawing/2014/main" id="{D33A00EE-9ACF-4636-BD82-6CF5E7FCB9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gray">
          <a:xfrm>
            <a:off x="123135" y="856567"/>
            <a:ext cx="8895600" cy="5214544"/>
          </a:xfrm>
          <a:prstGeom prst="rect">
            <a:avLst/>
          </a:prstGeom>
        </p:spPr>
      </p:pic>
      <p:sp>
        <p:nvSpPr>
          <p:cNvPr id="14" name="Bar">
            <a:extLst>
              <a:ext uri="{FF2B5EF4-FFF2-40B4-BE49-F238E27FC236}">
                <a16:creationId xmlns="" xmlns:a16="http://schemas.microsoft.com/office/drawing/2014/main" id="{CAE61038-067C-47CF-8DDC-5ED6CDAC4AEE}"/>
              </a:ext>
            </a:extLst>
          </p:cNvPr>
          <p:cNvSpPr/>
          <p:nvPr userDrawn="1"/>
        </p:nvSpPr>
        <p:spPr bwMode="gray">
          <a:xfrm>
            <a:off x="6611817" y="5609149"/>
            <a:ext cx="2405185" cy="19590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="" xmlns:a16="http://schemas.microsoft.com/office/drawing/2014/main" id="{4950B203-064F-443F-94A9-C002DAAE8F83}"/>
              </a:ext>
            </a:extLst>
          </p:cNvPr>
          <p:cNvSpPr/>
          <p:nvPr userDrawn="1"/>
        </p:nvSpPr>
        <p:spPr bwMode="gray">
          <a:xfrm>
            <a:off x="1215594" y="2077322"/>
            <a:ext cx="3529299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100" b="1" kern="0" dirty="0">
                <a:solidFill>
                  <a:prstClr val="black"/>
                </a:solidFill>
              </a:rPr>
              <a:t>Deutsche Gesellschaft für</a:t>
            </a:r>
            <a:br>
              <a:rPr lang="de-DE" sz="1100" b="1" kern="0" dirty="0">
                <a:solidFill>
                  <a:prstClr val="black"/>
                </a:solidFill>
              </a:rPr>
            </a:br>
            <a:r>
              <a:rPr lang="de-DE" sz="1100" b="1" kern="0" dirty="0">
                <a:solidFill>
                  <a:prstClr val="black"/>
                </a:solidFill>
              </a:rPr>
              <a:t>Internationale Zusammenarbeit (GIZ) GmbH</a:t>
            </a:r>
          </a:p>
          <a:p>
            <a:pPr>
              <a:defRPr/>
            </a:pPr>
            <a:endParaRPr lang="de-DE" sz="1100" b="1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Sitz der Gesellschaft 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Bonn und Eschborn</a:t>
            </a:r>
          </a:p>
          <a:p>
            <a:pPr>
              <a:defRPr/>
            </a:pPr>
            <a:endParaRPr lang="de-DE" sz="11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Friedrich-Ebert-Allee 36 + 40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53113 Bonn, Deutschland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T  +49  228  44 60 - 0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F  +49  228  44 60 - 17 66</a:t>
            </a:r>
          </a:p>
          <a:p>
            <a:pPr>
              <a:defRPr/>
            </a:pPr>
            <a:endParaRPr lang="de-DE" sz="1100" kern="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E  info@giz.de</a:t>
            </a:r>
          </a:p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I   </a:t>
            </a:r>
            <a:r>
              <a:rPr lang="de-DE" sz="400" kern="0" dirty="0">
                <a:solidFill>
                  <a:prstClr val="black"/>
                </a:solidFill>
              </a:rPr>
              <a:t> </a:t>
            </a:r>
            <a:r>
              <a:rPr lang="de-DE" sz="1100" kern="0" dirty="0">
                <a:solidFill>
                  <a:prstClr val="black"/>
                </a:solidFill>
              </a:rPr>
              <a:t>www.giz.de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="" xmlns:a16="http://schemas.microsoft.com/office/drawing/2014/main" id="{37982854-A844-4D46-9BB7-0890F958ED69}"/>
              </a:ext>
            </a:extLst>
          </p:cNvPr>
          <p:cNvSpPr/>
          <p:nvPr userDrawn="1"/>
        </p:nvSpPr>
        <p:spPr bwMode="gray">
          <a:xfrm>
            <a:off x="3525439" y="3413821"/>
            <a:ext cx="322103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100" kern="0" dirty="0">
                <a:solidFill>
                  <a:prstClr val="black"/>
                </a:solidFill>
              </a:rPr>
              <a:t>Dag-</a:t>
            </a:r>
            <a:r>
              <a:rPr lang="de-DE" sz="1100" kern="0" dirty="0" err="1">
                <a:solidFill>
                  <a:prstClr val="black"/>
                </a:solidFill>
              </a:rPr>
              <a:t>Hammarskjöld</a:t>
            </a:r>
            <a:r>
              <a:rPr lang="de-DE" sz="1100" kern="0" dirty="0">
                <a:solidFill>
                  <a:prstClr val="black"/>
                </a:solidFill>
              </a:rPr>
              <a:t>-Weg 1 - 5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65760 Eschborn, Deutschland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T  +49  61 96  79 - 0</a:t>
            </a:r>
            <a:br>
              <a:rPr lang="de-DE" sz="1100" kern="0" dirty="0">
                <a:solidFill>
                  <a:prstClr val="black"/>
                </a:solidFill>
              </a:rPr>
            </a:br>
            <a:r>
              <a:rPr lang="de-DE" sz="1100" kern="0" dirty="0">
                <a:solidFill>
                  <a:prstClr val="black"/>
                </a:solidFill>
              </a:rPr>
              <a:t>F  +49  61 96  79 - 11 15</a:t>
            </a:r>
          </a:p>
        </p:txBody>
      </p:sp>
      <p:pic>
        <p:nvPicPr>
          <p:cNvPr id="8" name="logo">
            <a:extLst>
              <a:ext uri="{FF2B5EF4-FFF2-40B4-BE49-F238E27FC236}">
                <a16:creationId xmlns="" xmlns:a16="http://schemas.microsoft.com/office/drawing/2014/main" id="{89CFF6E4-F492-44F6-997D-92E15F612E2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276665" y="5929845"/>
            <a:ext cx="1650218" cy="60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95522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3" y="1404257"/>
            <a:ext cx="8368393" cy="51353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B4C2B9-59A5-4DC9-BBF0-9F859A1BB1A4}" type="datetimeFigureOut">
              <a:rPr lang="en-US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4/23/2020</a:t>
            </a:fld>
            <a:endParaRPr 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6BE477-4945-4D0B-958C-1FE8CDCA869E}" type="slidenum">
              <a:rPr lang="en-US">
                <a:solidFill>
                  <a:srgbClr val="6F6F6F"/>
                </a:solidFill>
              </a:rPr>
              <a:pPr/>
              <a:t>‹#›</a:t>
            </a:fld>
            <a:endParaRPr lang="en-US">
              <a:solidFill>
                <a:srgbClr val="6F6F6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4300" y="87540"/>
            <a:ext cx="7886700" cy="100647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89770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2921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Slide Number Placeholder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944813" y="6584822"/>
            <a:ext cx="2159000" cy="9233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Slide </a:t>
            </a:r>
            <a:fld id="{D5F2D519-DC67-4498-B314-243B40A560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73970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41031973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498246325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2052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24439227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großes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3348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78732447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Sub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284548362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83999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831297036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s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5318706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Slide Number Placeholder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944813" y="6550026"/>
            <a:ext cx="2159000" cy="1619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200" b="1">
                <a:solidFill>
                  <a:srgbClr val="999999"/>
                </a:solidFill>
              </a:rPr>
              <a:t>Slide </a:t>
            </a:r>
            <a:fld id="{D5F2D519-DC67-4498-B314-243B40A56052}" type="slidenum">
              <a:rPr lang="en-GB" sz="2200" b="1">
                <a:solidFill>
                  <a:srgbClr val="999999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2200" b="1">
              <a:solidFill>
                <a:srgbClr val="999999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33649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040400" y="3239023"/>
            <a:ext cx="70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 baseline="0"/>
            </a:lvl1pPr>
          </a:lstStyle>
          <a:p>
            <a:r>
              <a:rPr lang="de-DE" dirty="0"/>
              <a:t>Untertitel durch Klicken hinzufügen</a:t>
            </a:r>
          </a:p>
        </p:txBody>
      </p:sp>
      <p:sp>
        <p:nvSpPr>
          <p:cNvPr id="9" name="Rectangle 15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040400" y="1993727"/>
            <a:ext cx="7034400" cy="1143000"/>
          </a:xfrm>
        </p:spPr>
        <p:txBody>
          <a:bodyPr anchor="ctr"/>
          <a:lstStyle>
            <a:lvl1pPr algn="ctr">
              <a:defRPr sz="360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7721600" y="6604000"/>
            <a:ext cx="1422400" cy="25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193615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520" y="400690"/>
            <a:ext cx="7910148" cy="356591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en-US" dirty="0" err="1"/>
              <a:t>Folien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br>
              <a:rPr lang="en-US" dirty="0"/>
            </a:b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000000"/>
                </a:solidFill>
              </a:rPr>
              <a:t>Климатически нейтральная хозяйственная деятельность. Внедрение НДТ в РФ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2521" y="6165851"/>
            <a:ext cx="7910146" cy="21590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 b="0" baseline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defRPr sz="900" b="0"/>
            </a:lvl3pPr>
            <a:lvl4pPr>
              <a:defRPr sz="900" b="0"/>
            </a:lvl4pPr>
            <a:lvl5pPr>
              <a:defRPr sz="900" b="0"/>
            </a:lvl5pPr>
          </a:lstStyle>
          <a:p>
            <a:pPr lvl="0"/>
            <a:r>
              <a:rPr lang="en-US" dirty="0" err="1"/>
              <a:t>Quelle</a:t>
            </a:r>
            <a:r>
              <a:rPr lang="en-US" dirty="0"/>
              <a:t>, </a:t>
            </a:r>
            <a:r>
              <a:rPr lang="en-US" dirty="0" err="1"/>
              <a:t>Anmerkung</a:t>
            </a:r>
            <a:r>
              <a:rPr lang="en-US" dirty="0"/>
              <a:t>,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82521" y="715170"/>
            <a:ext cx="7910146" cy="553244"/>
          </a:xfrm>
        </p:spPr>
        <p:txBody>
          <a:bodyPr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872420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08000164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607557407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2052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60327630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großes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3348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44407768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Sub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91738887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83999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667140439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s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2022952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Slide Number Placeholder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944813" y="6550026"/>
            <a:ext cx="2159000" cy="1619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200" b="1">
                <a:solidFill>
                  <a:srgbClr val="999999"/>
                </a:solidFill>
              </a:rPr>
              <a:t>Slide </a:t>
            </a:r>
            <a:fld id="{D5F2D519-DC67-4498-B314-243B40A56052}" type="slidenum">
              <a:rPr lang="en-GB" sz="2200" b="1">
                <a:solidFill>
                  <a:srgbClr val="999999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2200" b="1">
              <a:solidFill>
                <a:srgbClr val="999999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902462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040400" y="3239023"/>
            <a:ext cx="70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 baseline="0"/>
            </a:lvl1pPr>
          </a:lstStyle>
          <a:p>
            <a:r>
              <a:rPr lang="de-DE" dirty="0"/>
              <a:t>Untertitel durch Klicken hinzufügen</a:t>
            </a:r>
          </a:p>
        </p:txBody>
      </p:sp>
      <p:sp>
        <p:nvSpPr>
          <p:cNvPr id="9" name="Rectangle 15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040400" y="1993727"/>
            <a:ext cx="7034400" cy="1143000"/>
          </a:xfrm>
        </p:spPr>
        <p:txBody>
          <a:bodyPr anchor="ctr"/>
          <a:lstStyle>
            <a:lvl1pPr algn="ctr">
              <a:defRPr sz="360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7721600" y="6604000"/>
            <a:ext cx="1422400" cy="25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611288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520" y="400690"/>
            <a:ext cx="7910148" cy="356591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en-US" dirty="0" err="1"/>
              <a:t>Folien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br>
              <a:rPr lang="en-US" dirty="0"/>
            </a:b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000000"/>
                </a:solidFill>
              </a:rPr>
              <a:t>Климатически нейтральная хозяйственная деятельность. Внедрение НДТ в РФ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2521" y="6165851"/>
            <a:ext cx="7910146" cy="21590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 b="0" baseline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defRPr sz="900" b="0"/>
            </a:lvl3pPr>
            <a:lvl4pPr>
              <a:defRPr sz="900" b="0"/>
            </a:lvl4pPr>
            <a:lvl5pPr>
              <a:defRPr sz="900" b="0"/>
            </a:lvl5pPr>
          </a:lstStyle>
          <a:p>
            <a:pPr lvl="0"/>
            <a:r>
              <a:rPr lang="en-US" dirty="0" err="1"/>
              <a:t>Quelle</a:t>
            </a:r>
            <a:r>
              <a:rPr lang="en-US" dirty="0"/>
              <a:t>, </a:t>
            </a:r>
            <a:r>
              <a:rPr lang="en-US" dirty="0" err="1"/>
              <a:t>Anmerkung</a:t>
            </a:r>
            <a:r>
              <a:rPr lang="en-US" dirty="0"/>
              <a:t>,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82521" y="715170"/>
            <a:ext cx="7910146" cy="553244"/>
          </a:xfrm>
        </p:spPr>
        <p:txBody>
          <a:bodyPr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162671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555104181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736264601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2052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78555937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großes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3348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401883753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Sub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272847960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83999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4226684000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s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2295721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040400" y="3239023"/>
            <a:ext cx="70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 baseline="0"/>
            </a:lvl1pPr>
          </a:lstStyle>
          <a:p>
            <a:r>
              <a:rPr lang="de-DE" dirty="0"/>
              <a:t>Untertitel durch Klicken hinzufügen</a:t>
            </a:r>
          </a:p>
        </p:txBody>
      </p:sp>
      <p:sp>
        <p:nvSpPr>
          <p:cNvPr id="9" name="Rectangle 15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040400" y="1993727"/>
            <a:ext cx="7034400" cy="1143000"/>
          </a:xfrm>
        </p:spPr>
        <p:txBody>
          <a:bodyPr anchor="ctr"/>
          <a:lstStyle>
            <a:lvl1pPr algn="ctr">
              <a:defRPr sz="360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7721600" y="6604000"/>
            <a:ext cx="1422400" cy="25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33808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520" y="400690"/>
            <a:ext cx="7910148" cy="356591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en-US" dirty="0" err="1"/>
              <a:t>Folien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br>
              <a:rPr lang="en-US" dirty="0"/>
            </a:b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000000"/>
                </a:solidFill>
              </a:rPr>
              <a:t>Климатически нейтральная хозяйственная деятельность. Внедрение НДТ в РФ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2521" y="6165851"/>
            <a:ext cx="7910146" cy="21590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 b="0" baseline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defRPr sz="900" b="0"/>
            </a:lvl3pPr>
            <a:lvl4pPr>
              <a:defRPr sz="900" b="0"/>
            </a:lvl4pPr>
            <a:lvl5pPr>
              <a:defRPr sz="900" b="0"/>
            </a:lvl5pPr>
          </a:lstStyle>
          <a:p>
            <a:pPr lvl="0"/>
            <a:r>
              <a:rPr lang="en-US" dirty="0" err="1"/>
              <a:t>Quelle</a:t>
            </a:r>
            <a:r>
              <a:rPr lang="en-US" dirty="0"/>
              <a:t>, </a:t>
            </a:r>
            <a:r>
              <a:rPr lang="en-US" dirty="0" err="1"/>
              <a:t>Anmerkung</a:t>
            </a:r>
            <a:r>
              <a:rPr lang="en-US" dirty="0"/>
              <a:t>,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82521" y="715170"/>
            <a:ext cx="7910146" cy="553244"/>
          </a:xfrm>
        </p:spPr>
        <p:txBody>
          <a:bodyPr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403262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16731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4362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74917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4324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4219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4641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4047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57839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9022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93181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29662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3037597-8BB0-4750-8FAD-2528677210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320284"/>
            <a:ext cx="8567183" cy="72072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="" xmlns:a16="http://schemas.microsoft.com/office/drawing/2014/main" id="{5EF497FE-F899-473C-86D1-3A47B30E7D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ru-RU" dirty="0">
                <a:solidFill>
                  <a:prstClr val="black">
                    <a:lumMod val="50000"/>
                    <a:lumOff val="50000"/>
                  </a:prstClr>
                </a:solidFill>
              </a:rPr>
              <a:t>Взаимосвязи между экономическими, социальными и экологическими факторами в новой экономической модели для казахстана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="" xmlns:a16="http://schemas.microsoft.com/office/drawing/2014/main" id="{B2E21C64-2F48-45FF-A940-2E7AC5533CE5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7970A760-2D10-4D79-B1A9-41D0DCCF1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="" xmlns:a16="http://schemas.microsoft.com/office/drawing/2014/main" id="{F0E6115A-0138-4831-8CBC-F3B86D466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49818" y="1361294"/>
            <a:ext cx="7172684" cy="4660625"/>
          </a:xfrm>
        </p:spPr>
        <p:txBody>
          <a:bodyPr/>
          <a:lstStyle>
            <a:lvl1pPr marL="228600" indent="-228600">
              <a:spcBef>
                <a:spcPts val="1800"/>
              </a:spcBef>
              <a:buFont typeface="+mj-lt"/>
              <a:buAutoNum type="arabicPeriod"/>
              <a:defRPr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48198578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4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096630328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755513161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2052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830067692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, Bulletpoints, großes Bil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576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idx="12"/>
          </p:nvPr>
        </p:nvSpPr>
        <p:spPr>
          <a:xfrm>
            <a:off x="6786000" y="2448001"/>
            <a:ext cx="2358000" cy="3348000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noProof="0"/>
              <a:t>Bild auf Platzhalter ziehen oder durch Klicken auf Symbol hinzufü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2884273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Sub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Clr>
                <a:srgbClr val="C80F0F"/>
              </a:buClr>
              <a:buSzTx/>
              <a:buFontTx/>
              <a:buNone/>
              <a:tabLst>
                <a:tab pos="2190750" algn="l"/>
              </a:tabLst>
              <a:defRPr sz="1800" baseline="0"/>
            </a:lvl1pPr>
            <a:lvl2pPr marL="360000" indent="-360000">
              <a:buClr>
                <a:srgbClr val="C80F0F"/>
              </a:buClr>
              <a:buFont typeface="Arial" pitchFamily="34" charset="0"/>
              <a:buChar char="•"/>
              <a:defRPr sz="1800"/>
            </a:lvl2pPr>
            <a:lvl3pPr marL="720000">
              <a:defRPr sz="1800"/>
            </a:lvl3pPr>
            <a:lvl4pPr marL="1080000">
              <a:defRPr sz="1800" baseline="0"/>
            </a:lvl4pPr>
            <a:lvl5pPr marL="1440000">
              <a:defRPr sz="1800" baseline="0"/>
            </a:lvl5pPr>
            <a:lvl6pPr marL="1800000">
              <a:defRPr baseline="0"/>
            </a:lvl6pPr>
            <a:lvl7pPr marL="2160000">
              <a:defRPr baseline="0"/>
            </a:lvl7pPr>
            <a:lvl8pPr marL="2520000">
              <a:defRPr baseline="0"/>
            </a:lvl8pPr>
            <a:lvl9pPr marL="2880000">
              <a:defRPr/>
            </a:lvl9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601765310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2 Spalten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000" y="1483200"/>
            <a:ext cx="7776000" cy="617928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683999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2" hasCustomPrompt="1"/>
          </p:nvPr>
        </p:nvSpPr>
        <p:spPr>
          <a:xfrm>
            <a:off x="4680000" y="2448000"/>
            <a:ext cx="3780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79009577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ss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2994812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040400" y="3239023"/>
            <a:ext cx="70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2800" baseline="0"/>
            </a:lvl1pPr>
          </a:lstStyle>
          <a:p>
            <a:r>
              <a:rPr lang="de-DE" dirty="0"/>
              <a:t>Untertitel durch Klicken hinzufügen</a:t>
            </a:r>
          </a:p>
        </p:txBody>
      </p:sp>
      <p:sp>
        <p:nvSpPr>
          <p:cNvPr id="9" name="Rectangle 15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1040400" y="1993727"/>
            <a:ext cx="7034400" cy="1143000"/>
          </a:xfrm>
        </p:spPr>
        <p:txBody>
          <a:bodyPr anchor="ctr"/>
          <a:lstStyle>
            <a:lvl1pPr algn="ctr">
              <a:defRPr sz="360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7721600" y="6604000"/>
            <a:ext cx="1422400" cy="25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56762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520" y="400690"/>
            <a:ext cx="7910148" cy="356591"/>
          </a:xfrm>
        </p:spPr>
        <p:txBody>
          <a:bodyPr/>
          <a:lstStyle>
            <a:lvl1pPr>
              <a:defRPr sz="2400" baseline="0"/>
            </a:lvl1pPr>
          </a:lstStyle>
          <a:p>
            <a:r>
              <a:rPr lang="en-US" dirty="0" err="1"/>
              <a:t>Folien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br>
              <a:rPr lang="en-US" dirty="0"/>
            </a:b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000000"/>
                </a:solidFill>
              </a:rPr>
              <a:t>Климатически нейтральная хозяйственная деятельность. Внедрение НДТ в РФ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82521" y="6165851"/>
            <a:ext cx="7910146" cy="21590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900" b="0" baseline="0"/>
            </a:lvl1pPr>
            <a:lvl2pPr>
              <a:lnSpc>
                <a:spcPct val="100000"/>
              </a:lnSpc>
              <a:spcBef>
                <a:spcPts val="0"/>
              </a:spcBef>
              <a:defRPr sz="900" b="0"/>
            </a:lvl2pPr>
            <a:lvl3pPr>
              <a:defRPr sz="900" b="0"/>
            </a:lvl3pPr>
            <a:lvl4pPr>
              <a:defRPr sz="900" b="0"/>
            </a:lvl4pPr>
            <a:lvl5pPr>
              <a:defRPr sz="900" b="0"/>
            </a:lvl5pPr>
          </a:lstStyle>
          <a:p>
            <a:pPr lvl="0"/>
            <a:r>
              <a:rPr lang="en-US" dirty="0" err="1"/>
              <a:t>Quelle</a:t>
            </a:r>
            <a:r>
              <a:rPr lang="en-US" dirty="0"/>
              <a:t>, </a:t>
            </a:r>
            <a:r>
              <a:rPr lang="en-US" dirty="0" err="1"/>
              <a:t>Anmerkung</a:t>
            </a:r>
            <a:r>
              <a:rPr lang="en-US" dirty="0"/>
              <a:t>, </a:t>
            </a:r>
            <a:r>
              <a:rPr lang="en-US" dirty="0" err="1"/>
              <a:t>Fußnote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82521" y="715170"/>
            <a:ext cx="7910146" cy="553244"/>
          </a:xfrm>
        </p:spPr>
        <p:txBody>
          <a:bodyPr/>
          <a:lstStyle>
            <a:lvl1pPr>
              <a:defRPr sz="1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err="1"/>
              <a:t>Untertitel</a:t>
            </a:r>
            <a:r>
              <a:rPr lang="en-US" dirty="0"/>
              <a:t> [max. 2 </a:t>
            </a:r>
            <a:r>
              <a:rPr lang="en-US" dirty="0" err="1"/>
              <a:t>Zeilen</a:t>
            </a:r>
            <a:r>
              <a:rPr lang="en-US" dirty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66134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84000" y="2448000"/>
            <a:ext cx="7776000" cy="381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6131236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34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33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29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32" Type="http://schemas.openxmlformats.org/officeDocument/2006/relationships/slideLayout" Target="../slideLayouts/slideLayout163.xml"/><Relationship Id="rId37" Type="http://schemas.microsoft.com/office/2007/relationships/hdphoto" Target="../media/hdphoto1.wdp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slideLayout" Target="../slideLayouts/slideLayout159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31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slideLayout" Target="../slideLayouts/slideLayout158.xml"/><Relationship Id="rId30" Type="http://schemas.openxmlformats.org/officeDocument/2006/relationships/slideLayout" Target="../slideLayouts/slideLayout161.xml"/><Relationship Id="rId35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microsoft.com/office/2007/relationships/hdphoto" Target="../media/hdphoto1.wdp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5.gi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image" Target="../media/image14.gif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6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image" Target="../media/image15.gif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image" Target="../media/image14.gif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16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image" Target="../media/image15.gif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image" Target="../media/image14.gif"/><Relationship Id="rId5" Type="http://schemas.openxmlformats.org/officeDocument/2006/relationships/slideLayout" Target="../slideLayouts/slideLayout73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image" Target="../media/image15.gif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image" Target="../media/image14.gif"/><Relationship Id="rId5" Type="http://schemas.openxmlformats.org/officeDocument/2006/relationships/slideLayout" Target="../slideLayouts/slideLayout9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image" Target="../media/image15.gif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image" Target="../media/image14.gif"/><Relationship Id="rId5" Type="http://schemas.openxmlformats.org/officeDocument/2006/relationships/slideLayout" Target="../slideLayouts/slideLayout103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23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216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Logo">
            <a:extLst>
              <a:ext uri="{FF2B5EF4-FFF2-40B4-BE49-F238E27FC236}">
                <a16:creationId xmlns:a16="http://schemas.microsoft.com/office/drawing/2014/main" xmlns="" id="{9F0F5CEA-886E-4B05-93BC-F96F6B5DF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6" cstate="print">
            <a:extLst>
              <a:ext uri="{BEBA8EAE-BF5A-486C-A8C5-ECC9F3942E4B}">
                <a14:imgProps xmlns:a14="http://schemas.microsoft.com/office/drawing/2010/main">
                  <a14:imgLayer r:embed="rId37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4013"/>
          <a:stretch/>
        </p:blipFill>
        <p:spPr bwMode="gray">
          <a:xfrm>
            <a:off x="8692042" y="6371813"/>
            <a:ext cx="309835" cy="316833"/>
          </a:xfrm>
          <a:prstGeom prst="rect">
            <a:avLst/>
          </a:prstGeom>
        </p:spPr>
      </p:pic>
      <p:sp>
        <p:nvSpPr>
          <p:cNvPr id="15" name="bar">
            <a:extLst>
              <a:ext uri="{FF2B5EF4-FFF2-40B4-BE49-F238E27FC236}">
                <a16:creationId xmlns:a16="http://schemas.microsoft.com/office/drawing/2014/main" xmlns="" id="{49D9F131-2158-4CE8-878F-18E76BB55EA7}"/>
              </a:ext>
            </a:extLst>
          </p:cNvPr>
          <p:cNvSpPr/>
          <p:nvPr userDrawn="1"/>
        </p:nvSpPr>
        <p:spPr bwMode="gray">
          <a:xfrm>
            <a:off x="8167688" y="6133759"/>
            <a:ext cx="849312" cy="6919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9" name="Fußzeile">
            <a:extLst>
              <a:ext uri="{FF2B5EF4-FFF2-40B4-BE49-F238E27FC236}">
                <a16:creationId xmlns:a16="http://schemas.microsoft.com/office/drawing/2014/main" xmlns="" id="{19B70EF4-7BC8-4A19-AF2F-964767328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783023" y="6583902"/>
            <a:ext cx="583947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spc="38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Datum">
            <a:extLst>
              <a:ext uri="{FF2B5EF4-FFF2-40B4-BE49-F238E27FC236}">
                <a16:creationId xmlns:a16="http://schemas.microsoft.com/office/drawing/2014/main" xmlns="" id="{6ED51528-C082-4A1A-9A13-B0D2B18590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59418" y="6583900"/>
            <a:ext cx="53363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z="600" spc="38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">
            <a:extLst>
              <a:ext uri="{FF2B5EF4-FFF2-40B4-BE49-F238E27FC236}">
                <a16:creationId xmlns:a16="http://schemas.microsoft.com/office/drawing/2014/main" xmlns="" id="{4CDA9225-2A86-4401-A66D-D1B6B89C60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449817" y="6583900"/>
            <a:ext cx="45085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600" spc="38" baseline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r>
              <a:rPr dirty="0"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 defTabSz="685800"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cxnSp>
        <p:nvCxnSpPr>
          <p:cNvPr id="14" name="Trennlinie 2">
            <a:extLst>
              <a:ext uri="{FF2B5EF4-FFF2-40B4-BE49-F238E27FC236}">
                <a16:creationId xmlns:a16="http://schemas.microsoft.com/office/drawing/2014/main" xmlns="" id="{BA7763BA-D29F-4859-88A9-E457D7D05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644649" y="6575619"/>
            <a:ext cx="0" cy="10371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Trennline 1">
            <a:extLst>
              <a:ext uri="{FF2B5EF4-FFF2-40B4-BE49-F238E27FC236}">
                <a16:creationId xmlns:a16="http://schemas.microsoft.com/office/drawing/2014/main" xmlns="" id="{D7B3BF4D-6640-4657-BD72-5F4E085287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7820" y="6575619"/>
            <a:ext cx="0" cy="10371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"/>
          <p:cNvSpPr>
            <a:spLocks noGrp="1"/>
          </p:cNvSpPr>
          <p:nvPr>
            <p:ph type="body" idx="1"/>
          </p:nvPr>
        </p:nvSpPr>
        <p:spPr bwMode="gray">
          <a:xfrm>
            <a:off x="449818" y="1361292"/>
            <a:ext cx="7172684" cy="4660627"/>
          </a:xfrm>
          <a:prstGeom prst="rect">
            <a:avLst/>
          </a:prstGeom>
        </p:spPr>
        <p:txBody>
          <a:bodyPr vert="horz" lIns="0" tIns="0" rIns="7200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>
              <a:buClr>
                <a:schemeClr val="accent1"/>
              </a:buClr>
            </a:pPr>
            <a:r>
              <a:rPr lang="de-DE" dirty="0"/>
              <a:t>Zweite Ebene</a:t>
            </a:r>
          </a:p>
          <a:p>
            <a:pPr lvl="2">
              <a:buClr>
                <a:schemeClr val="accent1"/>
              </a:buClr>
            </a:pPr>
            <a:r>
              <a:rPr lang="de-DE" dirty="0"/>
              <a:t>Dritte Ebene</a:t>
            </a:r>
          </a:p>
        </p:txBody>
      </p:sp>
      <p:sp>
        <p:nvSpPr>
          <p:cNvPr id="22" name="Headline">
            <a:extLst>
              <a:ext uri="{FF2B5EF4-FFF2-40B4-BE49-F238E27FC236}">
                <a16:creationId xmlns:a16="http://schemas.microsoft.com/office/drawing/2014/main" xmlns="" id="{288DB87F-225C-44F9-8B2F-85DB9A3E080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3"/>
            <a:ext cx="7172684" cy="720725"/>
          </a:xfrm>
          <a:prstGeom prst="rect">
            <a:avLst/>
          </a:prstGeom>
        </p:spPr>
        <p:txBody>
          <a:bodyPr vert="horz" lIns="0" tIns="0" rIns="72000" bIns="0" rtlCol="0" anchor="b"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2959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0" r:id="rId21"/>
    <p:sldLayoutId id="2147483841" r:id="rId22"/>
    <p:sldLayoutId id="2147483842" r:id="rId23"/>
    <p:sldLayoutId id="2147483843" r:id="rId24"/>
    <p:sldLayoutId id="2147483844" r:id="rId25"/>
    <p:sldLayoutId id="2147483845" r:id="rId26"/>
    <p:sldLayoutId id="2147483846" r:id="rId27"/>
    <p:sldLayoutId id="2147483847" r:id="rId28"/>
    <p:sldLayoutId id="2147483848" r:id="rId29"/>
    <p:sldLayoutId id="2147483849" r:id="rId30"/>
    <p:sldLayoutId id="2147483850" r:id="rId31"/>
    <p:sldLayoutId id="2147483851" r:id="rId32"/>
    <p:sldLayoutId id="2147483852" r:id="rId33"/>
    <p:sldLayoutId id="2147483853" r:id="rId34"/>
  </p:sldLayoutIdLst>
  <p:transition>
    <p:fade/>
  </p:transition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lang="de-DE" sz="12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lang="de-DE" sz="12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6213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Symbol" panose="05050102010706020507" pitchFamily="18" charset="2"/>
        <a:buChar char="-"/>
        <a:defRPr lang="de-DE" sz="11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78" userDrawn="1">
          <p15:clr>
            <a:srgbClr val="F26B43"/>
          </p15:clr>
        </p15:guide>
        <p15:guide id="5" orient="horz" pos="3162" userDrawn="1">
          <p15:clr>
            <a:srgbClr val="F26B43"/>
          </p15:clr>
        </p15:guide>
        <p15:guide id="7" pos="5680" userDrawn="1">
          <p15:clr>
            <a:srgbClr val="F26B43"/>
          </p15:clr>
        </p15:guide>
        <p15:guide id="8" pos="77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573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46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925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Logo">
            <a:extLst>
              <a:ext uri="{FF2B5EF4-FFF2-40B4-BE49-F238E27FC236}">
                <a16:creationId xmlns="" xmlns:a16="http://schemas.microsoft.com/office/drawing/2014/main" id="{9F0F5CEA-886E-4B05-93BC-F96F6B5DF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 cstate="print">
            <a:extLst>
              <a:ext uri="{BEBA8EAE-BF5A-486C-A8C5-ECC9F3942E4B}">
                <a14:imgProps xmlns:a14="http://schemas.microsoft.com/office/drawing/2010/main">
                  <a14:imgLayer r:embed="rId40">
                    <a14:imgEffect>
                      <a14:brightnessContrast brigh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4013"/>
          <a:stretch/>
        </p:blipFill>
        <p:spPr bwMode="gray">
          <a:xfrm>
            <a:off x="8692044" y="6371814"/>
            <a:ext cx="309835" cy="316833"/>
          </a:xfrm>
          <a:prstGeom prst="rect">
            <a:avLst/>
          </a:prstGeom>
        </p:spPr>
      </p:pic>
      <p:sp>
        <p:nvSpPr>
          <p:cNvPr id="15" name="bar">
            <a:extLst>
              <a:ext uri="{FF2B5EF4-FFF2-40B4-BE49-F238E27FC236}">
                <a16:creationId xmlns="" xmlns:a16="http://schemas.microsoft.com/office/drawing/2014/main" id="{49D9F131-2158-4CE8-878F-18E76BB55EA7}"/>
              </a:ext>
            </a:extLst>
          </p:cNvPr>
          <p:cNvSpPr/>
          <p:nvPr userDrawn="1"/>
        </p:nvSpPr>
        <p:spPr bwMode="gray">
          <a:xfrm>
            <a:off x="8167688" y="6133760"/>
            <a:ext cx="849312" cy="6919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350" dirty="0" err="1">
              <a:solidFill>
                <a:srgbClr val="6F6F6F"/>
              </a:solidFill>
            </a:endParaRPr>
          </a:p>
        </p:txBody>
      </p:sp>
      <p:sp>
        <p:nvSpPr>
          <p:cNvPr id="9" name="Fußzeile">
            <a:extLst>
              <a:ext uri="{FF2B5EF4-FFF2-40B4-BE49-F238E27FC236}">
                <a16:creationId xmlns="" xmlns:a16="http://schemas.microsoft.com/office/drawing/2014/main" id="{19B70EF4-7BC8-4A19-AF2F-9647673280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783025" y="6583904"/>
            <a:ext cx="583947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 spc="38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r>
              <a:rPr lang="de-DE" dirty="0">
                <a:solidFill>
                  <a:prstClr val="black">
                    <a:lumMod val="50000"/>
                    <a:lumOff val="50000"/>
                  </a:prstClr>
                </a:solidFill>
              </a:rPr>
              <a:t>Titel der Präsentation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Datum">
            <a:extLst>
              <a:ext uri="{FF2B5EF4-FFF2-40B4-BE49-F238E27FC236}">
                <a16:creationId xmlns="" xmlns:a16="http://schemas.microsoft.com/office/drawing/2014/main" id="{6ED51528-C082-4A1A-9A13-B0D2B18590A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59420" y="6583902"/>
            <a:ext cx="53363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z="600" spc="38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r>
              <a:rPr>
                <a:solidFill>
                  <a:prstClr val="black">
                    <a:lumMod val="50000"/>
                    <a:lumOff val="50000"/>
                  </a:prstClr>
                </a:solidFill>
              </a:rPr>
              <a:t>22.01.2019</a:t>
            </a:r>
            <a:endParaRPr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liennummernplatzhalter">
            <a:extLst>
              <a:ext uri="{FF2B5EF4-FFF2-40B4-BE49-F238E27FC236}">
                <a16:creationId xmlns="" xmlns:a16="http://schemas.microsoft.com/office/drawing/2014/main" id="{4CDA9225-2A86-4401-A66D-D1B6B89C60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449817" y="6583902"/>
            <a:ext cx="45085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600" spc="38" baseline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5800"/>
            <a:r>
              <a:rPr dirty="0">
                <a:solidFill>
                  <a:srgbClr val="6F6F6F"/>
                </a:solidFill>
              </a:rPr>
              <a:t>Seite </a:t>
            </a:r>
            <a:fld id="{3A8B5DB7-81A8-4ED4-916B-6B23CD603687}" type="slidenum">
              <a:rPr>
                <a:solidFill>
                  <a:srgbClr val="6F6F6F"/>
                </a:solidFill>
              </a:rPr>
              <a:pPr defTabSz="685800"/>
              <a:t>‹#›</a:t>
            </a:fld>
            <a:endParaRPr dirty="0">
              <a:solidFill>
                <a:srgbClr val="6F6F6F"/>
              </a:solidFill>
            </a:endParaRPr>
          </a:p>
        </p:txBody>
      </p:sp>
      <p:cxnSp>
        <p:nvCxnSpPr>
          <p:cNvPr id="14" name="Trennlinie 2">
            <a:extLst>
              <a:ext uri="{FF2B5EF4-FFF2-40B4-BE49-F238E27FC236}">
                <a16:creationId xmlns="" xmlns:a16="http://schemas.microsoft.com/office/drawing/2014/main" id="{BA7763BA-D29F-4859-88A9-E457D7D0500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1644649" y="6575619"/>
            <a:ext cx="0" cy="10371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Trennline 1">
            <a:extLst>
              <a:ext uri="{FF2B5EF4-FFF2-40B4-BE49-F238E27FC236}">
                <a16:creationId xmlns="" xmlns:a16="http://schemas.microsoft.com/office/drawing/2014/main" id="{D7B3BF4D-6640-4657-BD72-5F4E085287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7820" y="6575619"/>
            <a:ext cx="0" cy="10371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"/>
          <p:cNvSpPr>
            <a:spLocks noGrp="1"/>
          </p:cNvSpPr>
          <p:nvPr>
            <p:ph type="body" idx="1"/>
          </p:nvPr>
        </p:nvSpPr>
        <p:spPr bwMode="gray">
          <a:xfrm>
            <a:off x="449818" y="1361293"/>
            <a:ext cx="7172684" cy="4660627"/>
          </a:xfrm>
          <a:prstGeom prst="rect">
            <a:avLst/>
          </a:prstGeom>
        </p:spPr>
        <p:txBody>
          <a:bodyPr vert="horz" lIns="0" tIns="0" rIns="7200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>
              <a:buClr>
                <a:schemeClr val="accent1"/>
              </a:buClr>
            </a:pPr>
            <a:r>
              <a:rPr lang="de-DE" dirty="0"/>
              <a:t>Zweite Ebene</a:t>
            </a:r>
          </a:p>
          <a:p>
            <a:pPr lvl="2">
              <a:buClr>
                <a:schemeClr val="accent1"/>
              </a:buClr>
            </a:pPr>
            <a:r>
              <a:rPr lang="de-DE" dirty="0"/>
              <a:t>Dritte Ebene</a:t>
            </a:r>
          </a:p>
        </p:txBody>
      </p:sp>
      <p:sp>
        <p:nvSpPr>
          <p:cNvPr id="22" name="Headline">
            <a:extLst>
              <a:ext uri="{FF2B5EF4-FFF2-40B4-BE49-F238E27FC236}">
                <a16:creationId xmlns="" xmlns:a16="http://schemas.microsoft.com/office/drawing/2014/main" id="{288DB87F-225C-44F9-8B2F-85DB9A3E080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7" y="320284"/>
            <a:ext cx="7172684" cy="720725"/>
          </a:xfrm>
          <a:prstGeom prst="rect">
            <a:avLst/>
          </a:prstGeom>
        </p:spPr>
        <p:txBody>
          <a:bodyPr vert="horz" lIns="0" tIns="0" rIns="72000" bIns="0" rtlCol="0" anchor="b">
            <a:no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1179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</p:sldLayoutIdLst>
  <p:transition>
    <p:fade/>
  </p:transition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lang="de-DE" sz="12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lang="de-DE" sz="12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6213" algn="l" defTabSz="6858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Symbol" panose="05050102010706020507" pitchFamily="18" charset="2"/>
        <a:buChar char="-"/>
        <a:defRPr lang="de-DE" sz="11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78" userDrawn="1">
          <p15:clr>
            <a:srgbClr val="F26B43"/>
          </p15:clr>
        </p15:guide>
        <p15:guide id="5" orient="horz" pos="3162" userDrawn="1">
          <p15:clr>
            <a:srgbClr val="F26B43"/>
          </p15:clr>
        </p15:guide>
        <p15:guide id="7" pos="5680" userDrawn="1">
          <p15:clr>
            <a:srgbClr val="F26B43"/>
          </p15:clr>
        </p15:guide>
        <p15:guide id="8" pos="7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9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684000" y="1483200"/>
            <a:ext cx="7776000" cy="617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 durch Klicken hinzufügen</a:t>
            </a:r>
          </a:p>
        </p:txBody>
      </p:sp>
      <p:pic>
        <p:nvPicPr>
          <p:cNvPr id="20" name="Grafik 8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5851526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9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000" y="2447999"/>
            <a:ext cx="7776000" cy="38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5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62778" y="6581001"/>
            <a:ext cx="34184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 b="1" spc="70" baseline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9155" y="6581002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/>
          </a:p>
        </p:txBody>
      </p:sp>
      <p:pic>
        <p:nvPicPr>
          <p:cNvPr id="17" name="Grafik 7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d 10" descr="weltkugel-5-Europa-Orient.jpg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981"/>
          <a:stretch/>
        </p:blipFill>
        <p:spPr>
          <a:xfrm>
            <a:off x="2" y="1"/>
            <a:ext cx="6475451" cy="117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812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</p:sldLayoutIdLst>
  <p:transition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6E645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4pPr>
      <a:lvl5pPr marL="180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9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684000" y="1483200"/>
            <a:ext cx="7776000" cy="617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 durch Klicken hinzufügen</a:t>
            </a:r>
          </a:p>
        </p:txBody>
      </p:sp>
      <p:pic>
        <p:nvPicPr>
          <p:cNvPr id="20" name="Grafik 8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5851526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9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000" y="2447999"/>
            <a:ext cx="7776000" cy="38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5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62778" y="6581001"/>
            <a:ext cx="34184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 b="1" spc="70" baseline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9155" y="6581002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/>
          </a:p>
        </p:txBody>
      </p:sp>
      <p:pic>
        <p:nvPicPr>
          <p:cNvPr id="17" name="Grafik 7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d 10" descr="weltkugel-5-Europa-Orient.jpg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981"/>
          <a:stretch/>
        </p:blipFill>
        <p:spPr>
          <a:xfrm>
            <a:off x="2" y="1"/>
            <a:ext cx="6475451" cy="117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487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</p:sldLayoutIdLst>
  <p:transition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6E645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4pPr>
      <a:lvl5pPr marL="180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9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684000" y="1483200"/>
            <a:ext cx="7776000" cy="617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 durch Klicken hinzufügen</a:t>
            </a:r>
          </a:p>
        </p:txBody>
      </p:sp>
      <p:pic>
        <p:nvPicPr>
          <p:cNvPr id="20" name="Grafik 8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5851526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9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000" y="2447999"/>
            <a:ext cx="7776000" cy="38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5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62778" y="6581001"/>
            <a:ext cx="34184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 b="1" spc="70" baseline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9155" y="6581002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/>
          </a:p>
        </p:txBody>
      </p:sp>
      <p:pic>
        <p:nvPicPr>
          <p:cNvPr id="17" name="Grafik 7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d 10" descr="weltkugel-5-Europa-Orient.jpg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981"/>
          <a:stretch/>
        </p:blipFill>
        <p:spPr>
          <a:xfrm>
            <a:off x="2" y="1"/>
            <a:ext cx="6475451" cy="117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841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30" r:id="rId8"/>
    <p:sldLayoutId id="2147483731" r:id="rId9"/>
  </p:sldLayoutIdLst>
  <p:transition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6E645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4pPr>
      <a:lvl5pPr marL="180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06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9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684000" y="1483200"/>
            <a:ext cx="7776000" cy="617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 durch Klicken hinzufügen</a:t>
            </a:r>
          </a:p>
        </p:txBody>
      </p:sp>
      <p:pic>
        <p:nvPicPr>
          <p:cNvPr id="20" name="Grafik 8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5851526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9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000" y="2447999"/>
            <a:ext cx="7776000" cy="38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5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62778" y="6581001"/>
            <a:ext cx="34184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 b="1" spc="70" baseline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9155" y="6581002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/>
          </a:p>
        </p:txBody>
      </p:sp>
      <p:pic>
        <p:nvPicPr>
          <p:cNvPr id="17" name="Grafik 7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d 10" descr="weltkugel-5-Europa-Orient.jpg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981"/>
          <a:stretch/>
        </p:blipFill>
        <p:spPr>
          <a:xfrm>
            <a:off x="2" y="1"/>
            <a:ext cx="6475451" cy="117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024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7" r:id="rId8"/>
    <p:sldLayoutId id="2147483768" r:id="rId9"/>
  </p:sldLayoutIdLst>
  <p:transition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6E645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4pPr>
      <a:lvl5pPr marL="180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91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684000" y="1483200"/>
            <a:ext cx="7776000" cy="617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 durch Klicken hinzufügen</a:t>
            </a:r>
          </a:p>
        </p:txBody>
      </p:sp>
      <p:pic>
        <p:nvPicPr>
          <p:cNvPr id="20" name="Grafik 8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5851526"/>
            <a:ext cx="91440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792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4000" y="2447999"/>
            <a:ext cx="7776000" cy="38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Erste Ebene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</p:txBody>
      </p:sp>
      <p:sp>
        <p:nvSpPr>
          <p:cNvPr id="15" name="Rectangle 2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862778" y="6581001"/>
            <a:ext cx="341844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 b="1" spc="70" baseline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/>
              <a:t>Климатически нейтральная хозяйственная деятельность. Внедрение НДТ в РФ</a:t>
            </a:r>
            <a:endParaRPr lang="de-DE" dirty="0"/>
          </a:p>
        </p:txBody>
      </p:sp>
      <p:sp>
        <p:nvSpPr>
          <p:cNvPr id="16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9155" y="6581002"/>
            <a:ext cx="12954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6E6452"/>
                </a:solidFill>
                <a:latin typeface="Arial Narrow" pitchFamily="34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/>
          </a:p>
        </p:txBody>
      </p:sp>
      <p:pic>
        <p:nvPicPr>
          <p:cNvPr id="17" name="Grafik 7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18288" y="304800"/>
            <a:ext cx="21066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d 10" descr="weltkugel-5-Europa-Orient.jpg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981"/>
          <a:stretch/>
        </p:blipFill>
        <p:spPr>
          <a:xfrm>
            <a:off x="2" y="1"/>
            <a:ext cx="6475451" cy="1171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49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8" r:id="rId8"/>
    <p:sldLayoutId id="2147483779" r:id="rId9"/>
  </p:sldLayoutIdLst>
  <p:transition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6E645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360000" indent="-360000" algn="l" rtl="0" eaLnBrk="1" fontAlgn="base" hangingPunct="1">
        <a:spcBef>
          <a:spcPts val="400"/>
        </a:spcBef>
        <a:spcAft>
          <a:spcPts val="800"/>
        </a:spcAft>
        <a:buClr>
          <a:srgbClr val="C80F0F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2pPr>
      <a:lvl3pPr marL="10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>
          <a:solidFill>
            <a:srgbClr val="6E6452"/>
          </a:solidFill>
          <a:latin typeface="+mn-lt"/>
        </a:defRPr>
      </a:lvl3pPr>
      <a:lvl4pPr marL="14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4pPr>
      <a:lvl5pPr marL="180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5pPr>
      <a:lvl6pPr marL="216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6pPr>
      <a:lvl7pPr marL="252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7pPr>
      <a:lvl8pPr marL="288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8pPr>
      <a:lvl9pPr marL="3240000" indent="-360000" algn="l" rtl="0" eaLnBrk="1" fontAlgn="base" hangingPunct="1">
        <a:spcBef>
          <a:spcPts val="400"/>
        </a:spcBef>
        <a:spcAft>
          <a:spcPts val="800"/>
        </a:spcAft>
        <a:buClr>
          <a:srgbClr val="6E6452"/>
        </a:buClr>
        <a:buFont typeface="Arial" pitchFamily="34" charset="0"/>
        <a:buChar char="•"/>
        <a:tabLst>
          <a:tab pos="2190750" algn="l"/>
        </a:tabLst>
        <a:defRPr sz="1800" baseline="0">
          <a:solidFill>
            <a:srgbClr val="6E645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3.04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740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7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7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7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mailto:a.alieva@ecogeo.gov.kz" TargetMode="External"/><Relationship Id="rId2" Type="http://schemas.openxmlformats.org/officeDocument/2006/relationships/hyperlink" Target="mailto:gismagulova@inbox.ru" TargetMode="External"/><Relationship Id="rId1" Type="http://schemas.openxmlformats.org/officeDocument/2006/relationships/slideLayout" Target="../slideLayouts/slideLayout7.xml"/><Relationship Id="rId5" Type="http://schemas.openxmlformats.org/officeDocument/2006/relationships/hyperlink" Target="mailto:Johannes.schumann@giz.de" TargetMode="External"/><Relationship Id="rId4" Type="http://schemas.openxmlformats.org/officeDocument/2006/relationships/hyperlink" Target="mailto:zhanat.murzakulova@giz.de" TargetMode="Externa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slideLayout" Target="../slideLayouts/slideLayout56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67544" y="1628800"/>
            <a:ext cx="8208912" cy="2736304"/>
          </a:xfrm>
        </p:spPr>
        <p:txBody>
          <a:bodyPr>
            <a:normAutofit fontScale="90000"/>
          </a:bodyPr>
          <a:lstStyle/>
          <a:p>
            <a:pPr algn="l"/>
            <a:r>
              <a:rPr lang="ru-RU" sz="1800" i="1" dirty="0" smtClean="0">
                <a:solidFill>
                  <a:schemeClr val="tx2"/>
                </a:solidFill>
              </a:rPr>
              <a:t>Информация подготовлена АО </a:t>
            </a:r>
            <a:r>
              <a:rPr lang="ru-RU" sz="1800" i="1" dirty="0">
                <a:solidFill>
                  <a:schemeClr val="tx2"/>
                </a:solidFill>
              </a:rPr>
              <a:t>«</a:t>
            </a:r>
            <a:r>
              <a:rPr lang="ru-RU" sz="1800" i="1" dirty="0" err="1">
                <a:solidFill>
                  <a:schemeClr val="tx2"/>
                </a:solidFill>
              </a:rPr>
              <a:t>Жасыл</a:t>
            </a:r>
            <a:r>
              <a:rPr lang="ru-RU" sz="1800" i="1" dirty="0">
                <a:solidFill>
                  <a:schemeClr val="tx2"/>
                </a:solidFill>
              </a:rPr>
              <a:t> даму</a:t>
            </a:r>
            <a:r>
              <a:rPr lang="ru-RU" sz="1800" i="1" dirty="0" smtClean="0">
                <a:solidFill>
                  <a:schemeClr val="tx2"/>
                </a:solidFill>
              </a:rPr>
              <a:t>» </a:t>
            </a:r>
            <a:br>
              <a:rPr lang="ru-RU" sz="1800" i="1" dirty="0" smtClean="0">
                <a:solidFill>
                  <a:schemeClr val="tx2"/>
                </a:solidFill>
              </a:rPr>
            </a:br>
            <a:r>
              <a:rPr lang="ru-RU" sz="1800" i="1" dirty="0" smtClean="0">
                <a:solidFill>
                  <a:schemeClr val="tx2"/>
                </a:solidFill>
              </a:rPr>
              <a:t>для всех заинтересованных сторон в Казахстане</a:t>
            </a:r>
            <a:br>
              <a:rPr lang="ru-RU" sz="1800" i="1" dirty="0" smtClean="0">
                <a:solidFill>
                  <a:schemeClr val="tx2"/>
                </a:solidFill>
              </a:rPr>
            </a:br>
            <a:r>
              <a:rPr lang="ru-RU" sz="1800" i="1" dirty="0" smtClean="0">
                <a:solidFill>
                  <a:schemeClr val="tx2"/>
                </a:solidFill>
              </a:rPr>
              <a:t>по состоянию на 22 апреля 2020 года, г. </a:t>
            </a:r>
            <a:r>
              <a:rPr lang="ru-RU" sz="1800" i="1" dirty="0" err="1" smtClean="0">
                <a:solidFill>
                  <a:schemeClr val="tx2"/>
                </a:solidFill>
              </a:rPr>
              <a:t>Нур</a:t>
            </a:r>
            <a:r>
              <a:rPr lang="ru-RU" sz="1800" i="1" dirty="0" smtClean="0">
                <a:solidFill>
                  <a:schemeClr val="tx2"/>
                </a:solidFill>
              </a:rPr>
              <a:t>-Султан</a:t>
            </a:r>
            <a:r>
              <a:rPr lang="ru-RU" sz="1800" i="1" dirty="0" smtClean="0"/>
              <a:t/>
            </a:r>
            <a:br>
              <a:rPr lang="ru-RU" sz="1800" i="1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b="1" dirty="0" smtClean="0">
                <a:solidFill>
                  <a:srgbClr val="C00000"/>
                </a:solidFill>
              </a:rPr>
              <a:t>О текущем состоянии разработки СНУР в Казахстане</a:t>
            </a:r>
            <a:endParaRPr lang="ru-RU" sz="2000" b="1" i="1" dirty="0">
              <a:solidFill>
                <a:srgbClr val="C00000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67544" y="5085184"/>
            <a:ext cx="8352928" cy="864096"/>
          </a:xfrm>
        </p:spPr>
        <p:txBody>
          <a:bodyPr>
            <a:normAutofit fontScale="32500" lnSpcReduction="20000"/>
          </a:bodyPr>
          <a:lstStyle/>
          <a:p>
            <a:pPr algn="l">
              <a:lnSpc>
                <a:spcPct val="120000"/>
              </a:lnSpc>
              <a:spcBef>
                <a:spcPts val="600"/>
              </a:spcBef>
            </a:pPr>
            <a:r>
              <a:rPr lang="ru-RU" sz="3700" b="1" i="1" dirty="0" smtClean="0">
                <a:solidFill>
                  <a:schemeClr val="tx2"/>
                </a:solidFill>
              </a:rPr>
              <a:t>При подготовке данной презентации были использованы материалы, предоставленные ранее  руководством проекта </a:t>
            </a:r>
            <a:r>
              <a:rPr lang="en-US" sz="3700" b="1" i="1" dirty="0" smtClean="0">
                <a:solidFill>
                  <a:schemeClr val="tx2"/>
                </a:solidFill>
              </a:rPr>
              <a:t>GIZ</a:t>
            </a:r>
            <a:r>
              <a:rPr lang="ru-RU" sz="3700" b="1" i="1" dirty="0" smtClean="0">
                <a:solidFill>
                  <a:schemeClr val="tx2"/>
                </a:solidFill>
              </a:rPr>
              <a:t>, в рамках которого разрабатывается СНУР</a:t>
            </a:r>
            <a:r>
              <a:rPr lang="ru-RU" sz="3700" i="1" dirty="0" smtClean="0">
                <a:solidFill>
                  <a:schemeClr val="tx2"/>
                </a:solidFill>
              </a:rPr>
              <a:t>. Заимствованные слайды содержат логотип </a:t>
            </a:r>
            <a:r>
              <a:rPr lang="en-US" sz="3700" i="1" dirty="0" smtClean="0">
                <a:solidFill>
                  <a:schemeClr val="tx2"/>
                </a:solidFill>
              </a:rPr>
              <a:t>GIZ</a:t>
            </a:r>
            <a:r>
              <a:rPr lang="ru-RU" sz="3700" i="1" dirty="0" smtClean="0">
                <a:solidFill>
                  <a:schemeClr val="tx2"/>
                </a:solidFill>
              </a:rPr>
              <a:t>, прокомментированы АО «</a:t>
            </a:r>
            <a:r>
              <a:rPr lang="ru-RU" sz="3700" i="1" dirty="0" err="1" smtClean="0">
                <a:solidFill>
                  <a:schemeClr val="tx2"/>
                </a:solidFill>
              </a:rPr>
              <a:t>Жасыл</a:t>
            </a:r>
            <a:r>
              <a:rPr lang="ru-RU" sz="3700" i="1" dirty="0" smtClean="0">
                <a:solidFill>
                  <a:schemeClr val="tx2"/>
                </a:solidFill>
              </a:rPr>
              <a:t> даму», поскольку мы являемся партнером проекта и участвуем во всех процессах подготовки СНУР. 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476672"/>
            <a:ext cx="2096394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017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2348881"/>
            <a:ext cx="7772400" cy="1074043"/>
          </a:xfrm>
        </p:spPr>
        <p:txBody>
          <a:bodyPr>
            <a:noAutofit/>
          </a:bodyPr>
          <a:lstStyle/>
          <a:p>
            <a:pPr algn="ctr"/>
            <a:r>
              <a:rPr lang="ru-RU" sz="2800" dirty="0" smtClean="0">
                <a:solidFill>
                  <a:srgbClr val="C00000"/>
                </a:solidFill>
                <a:ea typeface="+mn-ea"/>
                <a:cs typeface="+mn-cs"/>
              </a:rPr>
              <a:t>что даст РАЗРАБОТКА СНУР республике?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234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467544" y="332656"/>
            <a:ext cx="8229600" cy="6408712"/>
          </a:xfrm>
        </p:spPr>
        <p:txBody>
          <a:bodyPr>
            <a:no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sz="1800" dirty="0" smtClean="0">
                <a:ea typeface="Times New Roman"/>
                <a:cs typeface="Times New Roman"/>
              </a:rPr>
              <a:t>Разработчики СНУР предложат новую (будущую) экономическую </a:t>
            </a:r>
            <a:r>
              <a:rPr lang="ru-RU" sz="1800" dirty="0">
                <a:ea typeface="Times New Roman"/>
                <a:cs typeface="Times New Roman"/>
              </a:rPr>
              <a:t>модель для </a:t>
            </a:r>
            <a:r>
              <a:rPr lang="ru-RU" sz="1800" dirty="0" smtClean="0">
                <a:ea typeface="Times New Roman"/>
                <a:cs typeface="Times New Roman"/>
              </a:rPr>
              <a:t>Казахстана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800" dirty="0" smtClean="0">
                <a:ea typeface="Times New Roman"/>
                <a:cs typeface="Times New Roman"/>
              </a:rPr>
              <a:t>В ней будут прописаны необходимые технологические </a:t>
            </a:r>
            <a:r>
              <a:rPr lang="ru-RU" sz="1800" dirty="0">
                <a:ea typeface="Times New Roman"/>
                <a:cs typeface="Times New Roman"/>
              </a:rPr>
              <a:t>и </a:t>
            </a:r>
            <a:r>
              <a:rPr lang="ru-RU" sz="1800" dirty="0" smtClean="0">
                <a:ea typeface="Times New Roman"/>
                <a:cs typeface="Times New Roman"/>
              </a:rPr>
              <a:t>политические меры, которые обеспечат </a:t>
            </a:r>
            <a:r>
              <a:rPr lang="ru-RU" sz="1800" b="1" dirty="0" err="1" smtClean="0">
                <a:solidFill>
                  <a:srgbClr val="C00000"/>
                </a:solidFill>
                <a:ea typeface="Times New Roman"/>
                <a:cs typeface="Times New Roman"/>
              </a:rPr>
              <a:t>низкоуглеродное</a:t>
            </a:r>
            <a:r>
              <a:rPr lang="ru-RU" sz="18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 процветающее будущее</a:t>
            </a:r>
            <a:r>
              <a:rPr lang="ru-RU" sz="1800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 </a:t>
            </a:r>
            <a:r>
              <a:rPr lang="ru-RU" sz="1800" dirty="0" smtClean="0">
                <a:ea typeface="Times New Roman"/>
                <a:cs typeface="Times New Roman"/>
              </a:rPr>
              <a:t>Казахстану.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800" dirty="0" smtClean="0">
                <a:cs typeface="Times New Roman"/>
              </a:rPr>
              <a:t>Активное вовлечение </a:t>
            </a:r>
            <a:r>
              <a:rPr lang="ru-RU" sz="1800" dirty="0" err="1" smtClean="0">
                <a:cs typeface="Times New Roman"/>
              </a:rPr>
              <a:t>стейкхолдеров</a:t>
            </a:r>
            <a:r>
              <a:rPr lang="ru-RU" sz="1800" dirty="0" smtClean="0">
                <a:cs typeface="Times New Roman"/>
              </a:rPr>
              <a:t> в процесс разработки СНУР на всех этапах процесса будет содействовать достижению </a:t>
            </a:r>
            <a:r>
              <a:rPr lang="ru-RU" sz="1800" b="1" dirty="0" smtClean="0">
                <a:solidFill>
                  <a:srgbClr val="C00000"/>
                </a:solidFill>
                <a:cs typeface="Times New Roman"/>
              </a:rPr>
              <a:t>общественного консенсуса</a:t>
            </a:r>
            <a:r>
              <a:rPr lang="ru-RU" sz="1800" b="1" dirty="0" smtClean="0">
                <a:solidFill>
                  <a:srgbClr val="0070C0"/>
                </a:solidFill>
                <a:cs typeface="Times New Roman"/>
              </a:rPr>
              <a:t> </a:t>
            </a:r>
            <a:r>
              <a:rPr lang="ru-RU" sz="1800" dirty="0" smtClean="0">
                <a:cs typeface="Times New Roman"/>
              </a:rPr>
              <a:t>в выборе наиболее приемлемого (справедливого) пути перехода к </a:t>
            </a:r>
            <a:r>
              <a:rPr lang="ru-RU" sz="1800" dirty="0" err="1" smtClean="0">
                <a:cs typeface="Times New Roman"/>
              </a:rPr>
              <a:t>низкоуглеродному</a:t>
            </a:r>
            <a:r>
              <a:rPr lang="ru-RU" sz="1800" dirty="0" smtClean="0">
                <a:cs typeface="Times New Roman"/>
              </a:rPr>
              <a:t> процветающему будущему Казахстана.</a:t>
            </a:r>
          </a:p>
          <a:p>
            <a:pPr marL="0" indent="0" algn="just">
              <a:spcBef>
                <a:spcPts val="1800"/>
              </a:spcBef>
              <a:buNone/>
            </a:pPr>
            <a:r>
              <a:rPr lang="ru-RU" sz="1800" b="1" dirty="0" smtClean="0">
                <a:solidFill>
                  <a:srgbClr val="C00000"/>
                </a:solidFill>
              </a:rPr>
              <a:t>Стратегия </a:t>
            </a:r>
            <a:r>
              <a:rPr lang="ru-RU" sz="1800" b="1" dirty="0">
                <a:solidFill>
                  <a:srgbClr val="C00000"/>
                </a:solidFill>
              </a:rPr>
              <a:t>«Казахстан 2050» </a:t>
            </a:r>
            <a:r>
              <a:rPr lang="ru-RU" sz="1800" dirty="0">
                <a:solidFill>
                  <a:srgbClr val="C00000"/>
                </a:solidFill>
              </a:rPr>
              <a:t>и </a:t>
            </a:r>
            <a:r>
              <a:rPr lang="ru-RU" sz="1800" b="1" dirty="0">
                <a:solidFill>
                  <a:srgbClr val="C00000"/>
                </a:solidFill>
              </a:rPr>
              <a:t>Концепция по переходу к «зеленой экономике» (до 2050 года) </a:t>
            </a:r>
            <a:r>
              <a:rPr lang="ru-RU" sz="1800" dirty="0"/>
              <a:t>стали важными стратегическими документами и начали путь декарбонизации (трансформации) экономики </a:t>
            </a:r>
            <a:r>
              <a:rPr lang="ru-RU" sz="1800" dirty="0" smtClean="0"/>
              <a:t>Казахстана с декабря 2012 года.</a:t>
            </a:r>
            <a:r>
              <a:rPr lang="en-US" sz="1800" dirty="0" smtClean="0"/>
              <a:t> </a:t>
            </a:r>
            <a:r>
              <a:rPr lang="ru-RU" sz="1800" dirty="0" smtClean="0"/>
              <a:t>Согласно Стратегии развития Казахстана до 2025 года</a:t>
            </a:r>
            <a:r>
              <a:rPr lang="ru-RU" sz="1800" dirty="0"/>
              <a:t>, Концепция по переходу к «зеленой экономике</a:t>
            </a:r>
            <a:r>
              <a:rPr lang="ru-RU" sz="1800" dirty="0" smtClean="0"/>
              <a:t>» должна быть приведена в соответствие с Парижским соглашением.</a:t>
            </a:r>
            <a:endParaRPr lang="ru-RU" sz="1800" dirty="0"/>
          </a:p>
          <a:p>
            <a:pPr marL="0" indent="0" algn="just">
              <a:buNone/>
            </a:pPr>
            <a:r>
              <a:rPr lang="ru-RU" sz="1800" b="1" dirty="0">
                <a:solidFill>
                  <a:srgbClr val="C00000"/>
                </a:solidFill>
              </a:rPr>
              <a:t>СНУР обновит и предоставит более полное описание технологических преобразований во всех секторах, которые необходимы для достижения стратегических целей</a:t>
            </a:r>
            <a:r>
              <a:rPr lang="ru-RU" sz="1800" dirty="0">
                <a:solidFill>
                  <a:srgbClr val="C00000"/>
                </a:solidFill>
              </a:rPr>
              <a:t> </a:t>
            </a:r>
            <a:r>
              <a:rPr lang="ru-RU" sz="1800" dirty="0"/>
              <a:t>этих документов, </a:t>
            </a:r>
            <a:r>
              <a:rPr lang="ru-RU" sz="1800" b="1" dirty="0">
                <a:solidFill>
                  <a:srgbClr val="C00000"/>
                </a:solidFill>
              </a:rPr>
              <a:t>а также для</a:t>
            </a:r>
            <a:r>
              <a:rPr lang="ru-RU" sz="1800" dirty="0"/>
              <a:t>: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800" b="1" dirty="0">
                <a:solidFill>
                  <a:srgbClr val="C00000"/>
                </a:solidFill>
              </a:rPr>
              <a:t>выполнения</a:t>
            </a:r>
            <a:r>
              <a:rPr lang="ru-RU" sz="1800" dirty="0"/>
              <a:t> национальных обязательств в рамках Парижского соглашения (</a:t>
            </a:r>
            <a:r>
              <a:rPr lang="en-US" sz="1800" b="1" dirty="0">
                <a:solidFill>
                  <a:srgbClr val="C00000"/>
                </a:solidFill>
              </a:rPr>
              <a:t>NDC</a:t>
            </a:r>
            <a:r>
              <a:rPr lang="ru-RU" sz="1800" dirty="0"/>
              <a:t>)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800" dirty="0"/>
              <a:t>выполнения глобальных 17 </a:t>
            </a:r>
            <a:r>
              <a:rPr lang="ru-RU" sz="1800" b="1" dirty="0">
                <a:solidFill>
                  <a:srgbClr val="C00000"/>
                </a:solidFill>
              </a:rPr>
              <a:t>ЦУР ООН </a:t>
            </a:r>
            <a:r>
              <a:rPr lang="ru-RU" sz="1800" dirty="0"/>
              <a:t>до 2030 года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800" b="1" dirty="0">
                <a:solidFill>
                  <a:srgbClr val="C00000"/>
                </a:solidFill>
              </a:rPr>
              <a:t>вхождения Казахстана в ТОП-30 наиболее развитых стран к 2050 году</a:t>
            </a:r>
            <a:r>
              <a:rPr lang="ru-RU" sz="1800" dirty="0" smtClean="0">
                <a:solidFill>
                  <a:srgbClr val="C00000"/>
                </a:solidFill>
              </a:rPr>
              <a:t>.</a:t>
            </a:r>
            <a:endParaRPr lang="ru-RU" sz="1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530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67544" y="404664"/>
            <a:ext cx="8229600" cy="1224136"/>
          </a:xfrm>
        </p:spPr>
        <p:txBody>
          <a:bodyPr>
            <a:noAutofit/>
          </a:bodyPr>
          <a:lstStyle/>
          <a:p>
            <a:pPr lvl="0" algn="l">
              <a:spcBef>
                <a:spcPts val="0"/>
              </a:spcBef>
            </a:pPr>
            <a:r>
              <a:rPr lang="ru-RU" sz="2200" b="1" dirty="0" smtClean="0">
                <a:solidFill>
                  <a:srgbClr val="C00000"/>
                </a:solidFill>
                <a:ea typeface="+mn-ea"/>
                <a:cs typeface="Times New Roman"/>
              </a:rPr>
              <a:t>Глубокий эмпирический анализ сценариев </a:t>
            </a:r>
            <a:r>
              <a:rPr lang="ru-RU" sz="2200" b="1" dirty="0" err="1" smtClean="0">
                <a:solidFill>
                  <a:srgbClr val="C00000"/>
                </a:solidFill>
                <a:ea typeface="+mn-ea"/>
                <a:cs typeface="Times New Roman"/>
              </a:rPr>
              <a:t>низкоуглеродного</a:t>
            </a:r>
            <a:r>
              <a:rPr lang="ru-RU" sz="2200" b="1" dirty="0" smtClean="0">
                <a:solidFill>
                  <a:srgbClr val="C00000"/>
                </a:solidFill>
                <a:ea typeface="+mn-ea"/>
                <a:cs typeface="Times New Roman"/>
              </a:rPr>
              <a:t> развития Казахстана даст </a:t>
            </a:r>
            <a:r>
              <a:rPr lang="ru-RU" sz="2200" b="1" dirty="0">
                <a:solidFill>
                  <a:srgbClr val="C00000"/>
                </a:solidFill>
                <a:ea typeface="+mn-ea"/>
                <a:cs typeface="Times New Roman"/>
              </a:rPr>
              <a:t>ответы на </a:t>
            </a:r>
            <a:r>
              <a:rPr lang="ru-RU" sz="2200" dirty="0" smtClean="0">
                <a:ea typeface="+mn-ea"/>
                <a:cs typeface="Times New Roman"/>
              </a:rPr>
              <a:t>нижеследующие </a:t>
            </a:r>
            <a:r>
              <a:rPr lang="ru-RU" sz="2200" b="1" dirty="0" smtClean="0">
                <a:solidFill>
                  <a:srgbClr val="C00000"/>
                </a:solidFill>
                <a:ea typeface="+mn-ea"/>
                <a:cs typeface="Times New Roman"/>
              </a:rPr>
              <a:t>вопросы</a:t>
            </a:r>
            <a:r>
              <a:rPr lang="ru-RU" sz="2200" b="1" dirty="0">
                <a:solidFill>
                  <a:srgbClr val="C00000"/>
                </a:solidFill>
                <a:ea typeface="+mn-ea"/>
                <a:cs typeface="Times New Roman"/>
              </a:rPr>
              <a:t>, без которых  </a:t>
            </a:r>
            <a:r>
              <a:rPr lang="ru-RU" sz="2200" dirty="0" smtClean="0">
                <a:solidFill>
                  <a:srgbClr val="C00000"/>
                </a:solidFill>
                <a:ea typeface="+mn-ea"/>
                <a:cs typeface="Times New Roman"/>
              </a:rPr>
              <a:t>Правительству </a:t>
            </a:r>
            <a:r>
              <a:rPr lang="ru-RU" sz="2200" b="1" dirty="0">
                <a:solidFill>
                  <a:srgbClr val="C00000"/>
                </a:solidFill>
                <a:ea typeface="+mn-ea"/>
                <a:cs typeface="Times New Roman"/>
              </a:rPr>
              <a:t>сложно сделать</a:t>
            </a:r>
            <a:r>
              <a:rPr lang="ru-RU" sz="2200" b="1" dirty="0">
                <a:solidFill>
                  <a:srgbClr val="0070C0"/>
                </a:solidFill>
                <a:ea typeface="+mn-ea"/>
                <a:cs typeface="Times New Roman"/>
              </a:rPr>
              <a:t> </a:t>
            </a:r>
            <a:r>
              <a:rPr lang="ru-RU" sz="2200" dirty="0">
                <a:ea typeface="+mn-ea"/>
                <a:cs typeface="Times New Roman"/>
              </a:rPr>
              <a:t>ответственный </a:t>
            </a:r>
            <a:r>
              <a:rPr lang="ru-RU" sz="2200" b="1" dirty="0">
                <a:solidFill>
                  <a:srgbClr val="C00000"/>
                </a:solidFill>
                <a:ea typeface="+mn-ea"/>
                <a:cs typeface="Times New Roman"/>
              </a:rPr>
              <a:t>выбор политик и темпов декарбонизации национальной экономики</a:t>
            </a:r>
            <a:r>
              <a:rPr lang="ru-RU" sz="2200" dirty="0" smtClean="0">
                <a:solidFill>
                  <a:srgbClr val="0070C0"/>
                </a:solidFill>
                <a:ea typeface="+mn-ea"/>
                <a:cs typeface="Times New Roman"/>
              </a:rPr>
              <a:t>:</a:t>
            </a:r>
            <a:endParaRPr lang="ru-RU" sz="2200" dirty="0"/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457200" y="2060848"/>
            <a:ext cx="8363272" cy="4320480"/>
          </a:xfrm>
        </p:spPr>
        <p:txBody>
          <a:bodyPr>
            <a:normAutofit/>
          </a:bodyPr>
          <a:lstStyle/>
          <a:p>
            <a:pPr lvl="0">
              <a:buFont typeface="+mj-lt"/>
              <a:buAutoNum type="arabicPeriod"/>
            </a:pP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Какие 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затраты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и выгоды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(включая сопутствующие экономические, социальные и экологические) 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будут при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разных сценариях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и политиках декарбонизации в сравнении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?</a:t>
            </a:r>
          </a:p>
          <a:p>
            <a:pPr>
              <a:buFont typeface="+mj-lt"/>
              <a:buAutoNum type="arabicPeriod"/>
            </a:pPr>
            <a:r>
              <a:rPr lang="ru-RU" sz="2000" dirty="0">
                <a:cs typeface="Times New Roman"/>
              </a:rPr>
              <a:t>Сколько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капитальных вложений </a:t>
            </a:r>
            <a:r>
              <a:rPr lang="ru-RU" sz="2000" dirty="0">
                <a:cs typeface="Times New Roman"/>
              </a:rPr>
              <a:t>(государственных и частных)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требуется на каждый сектор</a:t>
            </a:r>
            <a:r>
              <a:rPr lang="ru-RU" sz="2000" dirty="0">
                <a:solidFill>
                  <a:srgbClr val="C00000"/>
                </a:solidFill>
                <a:cs typeface="Times New Roman"/>
              </a:rPr>
              <a:t> </a:t>
            </a:r>
            <a:r>
              <a:rPr lang="ru-RU" sz="2000" dirty="0">
                <a:cs typeface="Times New Roman"/>
              </a:rPr>
              <a:t>для осуществления базового и альтернативных сценариев в сравнении?</a:t>
            </a:r>
          </a:p>
          <a:p>
            <a:pPr>
              <a:buFont typeface="+mj-lt"/>
              <a:buAutoNum type="arabicPeriod"/>
            </a:pP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Каковы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экономические последствия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 мер </a:t>
            </a:r>
            <a:r>
              <a:rPr lang="ru-RU" sz="2000" dirty="0" err="1">
                <a:solidFill>
                  <a:prstClr val="black"/>
                </a:solidFill>
                <a:cs typeface="Times New Roman"/>
              </a:rPr>
              <a:t>митигации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для различных отраслей и слоев населения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?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Как распределить затраты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и выгоды между заинтересованными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сторонами?</a:t>
            </a:r>
          </a:p>
          <a:p>
            <a:pPr>
              <a:buFont typeface="+mj-lt"/>
              <a:buAutoNum type="arabicPeriod"/>
            </a:pPr>
            <a:r>
              <a:rPr lang="ru-RU" sz="2000" dirty="0">
                <a:cs typeface="Times New Roman"/>
              </a:rPr>
              <a:t>Какие типы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инфраструктуры</a:t>
            </a:r>
            <a:r>
              <a:rPr lang="ru-RU" sz="2000" dirty="0">
                <a:cs typeface="Times New Roman"/>
              </a:rPr>
              <a:t> будут способствовать экономическому росту при различных сценариях декарбонизации</a:t>
            </a:r>
            <a:r>
              <a:rPr lang="ru-RU" sz="2000" dirty="0" smtClean="0">
                <a:cs typeface="Times New Roman"/>
              </a:rPr>
              <a:t>?</a:t>
            </a:r>
            <a:endParaRPr lang="ru-RU" sz="2000" dirty="0"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63724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67544" y="692696"/>
            <a:ext cx="8271614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600"/>
              </a:spcBef>
              <a:buFont typeface="+mj-lt"/>
              <a:buAutoNum type="arabicPeriod" startAt="4"/>
            </a:pPr>
            <a:r>
              <a:rPr lang="ru-RU" sz="2000" dirty="0">
                <a:solidFill>
                  <a:prstClr val="black"/>
                </a:solidFill>
                <a:cs typeface="Times New Roman"/>
              </a:rPr>
              <a:t>Каковы</a:t>
            </a:r>
            <a:r>
              <a:rPr lang="ru-RU" sz="2000" dirty="0">
                <a:solidFill>
                  <a:srgbClr val="C00000"/>
                </a:solidFill>
                <a:cs typeface="Times New Roman"/>
              </a:rPr>
              <a:t>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наиболее эффективные и действенные варианты и политики декарбонизации</a:t>
            </a:r>
            <a:r>
              <a:rPr lang="ru-RU" sz="2000" dirty="0">
                <a:solidFill>
                  <a:srgbClr val="C00000"/>
                </a:solidFill>
                <a:cs typeface="Times New Roman"/>
              </a:rPr>
              <a:t>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с точки зрения достижения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стратегических целей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страны до 2050 года, касающихся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и </a:t>
            </a:r>
            <a:r>
              <a:rPr lang="ru-RU" sz="2000" dirty="0" err="1" smtClean="0">
                <a:solidFill>
                  <a:prstClr val="black"/>
                </a:solidFill>
                <a:cs typeface="Times New Roman"/>
              </a:rPr>
              <a:t>митигации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,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и адаптации, а также других экологических, социальных и экономических целей Казахстана? Каковы их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количественные экономические, экологические и социальные последствия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и как их можно </a:t>
            </a:r>
            <a:r>
              <a:rPr lang="ru-RU" sz="2000" b="1" dirty="0" err="1" smtClean="0">
                <a:solidFill>
                  <a:srgbClr val="C00000"/>
                </a:solidFill>
                <a:cs typeface="Times New Roman"/>
              </a:rPr>
              <a:t>приоритезировать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?</a:t>
            </a:r>
            <a:endParaRPr lang="ru-RU" sz="2000" dirty="0">
              <a:solidFill>
                <a:prstClr val="black"/>
              </a:solidFill>
              <a:cs typeface="Times New Roman"/>
            </a:endParaRPr>
          </a:p>
          <a:p>
            <a:pPr marL="457200" indent="-457200">
              <a:spcBef>
                <a:spcPts val="600"/>
              </a:spcBef>
              <a:buFont typeface="+mj-lt"/>
              <a:buAutoNum type="arabicPeriod" startAt="4"/>
            </a:pP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Каков 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предпочтительный механизм управления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для достижения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политического видения до 2050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года, касающегося и </a:t>
            </a:r>
            <a:r>
              <a:rPr lang="ru-RU" sz="2000" dirty="0" err="1" smtClean="0">
                <a:solidFill>
                  <a:prstClr val="black"/>
                </a:solidFill>
                <a:cs typeface="Times New Roman"/>
              </a:rPr>
              <a:t>митигации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,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и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адаптации, а также других экологических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, социальных и экономических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стратегических целей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Казахстана?</a:t>
            </a:r>
          </a:p>
          <a:p>
            <a:pPr marL="457200" indent="-457200">
              <a:spcBef>
                <a:spcPts val="600"/>
              </a:spcBef>
              <a:buFont typeface="+mj-lt"/>
              <a:buAutoNum type="arabicPeriod" startAt="4"/>
            </a:pP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Каковы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наиболее 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оптимальные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сроки 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и последовательность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 реализации политик и мер декарбонизации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?</a:t>
            </a:r>
          </a:p>
          <a:p>
            <a:pPr marL="457200" indent="-457200">
              <a:spcBef>
                <a:spcPts val="600"/>
              </a:spcBef>
              <a:buFont typeface="+mj-lt"/>
              <a:buAutoNum type="arabicPeriod" startAt="4"/>
            </a:pP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Как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изменяется энергоемкость и энергоэффективность ВВП при различных сценариях </a:t>
            </a:r>
            <a:r>
              <a:rPr lang="ru-RU" sz="2000" dirty="0" err="1" smtClean="0">
                <a:solidFill>
                  <a:prstClr val="black"/>
                </a:solidFill>
                <a:cs typeface="Times New Roman"/>
              </a:rPr>
              <a:t>митигации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?</a:t>
            </a:r>
            <a:endParaRPr lang="ru-RU" sz="2000" dirty="0">
              <a:solidFill>
                <a:prstClr val="black"/>
              </a:solidFill>
              <a:cs typeface="Times New Roman"/>
            </a:endParaRPr>
          </a:p>
          <a:p>
            <a:pPr marL="457200" indent="-457200">
              <a:spcBef>
                <a:spcPts val="600"/>
              </a:spcBef>
              <a:buFont typeface="+mj-lt"/>
              <a:buAutoNum type="arabicPeriod" startAt="4"/>
            </a:pP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Какие </a:t>
            </a:r>
            <a:r>
              <a:rPr lang="ru-RU" sz="2000" dirty="0">
                <a:solidFill>
                  <a:prstClr val="black"/>
                </a:solidFill>
                <a:cs typeface="Times New Roman"/>
              </a:rPr>
              <a:t>существуют 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барьеры</a:t>
            </a:r>
            <a:r>
              <a:rPr lang="ru-RU" sz="2000" dirty="0" smtClean="0">
                <a:solidFill>
                  <a:prstClr val="black"/>
                </a:solidFill>
                <a:cs typeface="Times New Roman"/>
              </a:rPr>
              <a:t> в предпочтительных вариантах снижения выбросов ПГ и 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как они </a:t>
            </a:r>
            <a:r>
              <a:rPr lang="ru-RU" sz="2000" b="1" dirty="0">
                <a:solidFill>
                  <a:srgbClr val="C00000"/>
                </a:solidFill>
                <a:cs typeface="Times New Roman"/>
              </a:rPr>
              <a:t>могут быть преодолены</a:t>
            </a:r>
            <a:r>
              <a:rPr lang="ru-RU" sz="2000" b="1" dirty="0" smtClean="0">
                <a:solidFill>
                  <a:srgbClr val="C00000"/>
                </a:solidFill>
                <a:cs typeface="Times New Roman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57407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7584" y="2420889"/>
            <a:ext cx="7772400" cy="1362075"/>
          </a:xfrm>
        </p:spPr>
        <p:txBody>
          <a:bodyPr>
            <a:normAutofit/>
          </a:bodyPr>
          <a:lstStyle/>
          <a:p>
            <a:pPr algn="ctr"/>
            <a:r>
              <a:rPr lang="ru-RU" sz="2800" dirty="0" smtClean="0">
                <a:solidFill>
                  <a:srgbClr val="C00000"/>
                </a:solidFill>
              </a:rPr>
              <a:t>Зачем страны разрабатывают СНУР? 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985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>
            <a:spLocks noGrp="1"/>
          </p:cNvSpPr>
          <p:nvPr>
            <p:ph type="title"/>
          </p:nvPr>
        </p:nvSpPr>
        <p:spPr>
          <a:xfrm>
            <a:off x="496495" y="1118153"/>
            <a:ext cx="7776000" cy="427376"/>
          </a:xfrm>
        </p:spPr>
        <p:txBody>
          <a:bodyPr/>
          <a:lstStyle/>
          <a:p>
            <a:r>
              <a:rPr lang="ru-RU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Международные основы для разработки СНУР</a:t>
            </a:r>
            <a:r>
              <a:rPr lang="ru-RU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/>
            </a:r>
            <a:br>
              <a:rPr lang="ru-RU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</a:br>
            <a:endParaRPr lang="ru-RU" b="1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73999" y="2708920"/>
            <a:ext cx="8172099" cy="3847207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SzPct val="150000"/>
              <a:buFontTx/>
              <a:buBlip>
                <a:blip r:embed="rId3"/>
              </a:buBlip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НУР вносят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вклад в достижение целей Парижского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оглашения. Целью Парижского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оглашения является не допущение повышения температуры воздуха на планете более чем на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⁰С (а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лучше - на 1,5⁰С)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к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2100 году по сравнению с доиндустриальным уровнем (1850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год).</a:t>
            </a:r>
            <a:endParaRPr lang="ru-RU" sz="16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SzPct val="150000"/>
              <a:buFontTx/>
              <a:buBlip>
                <a:blip r:embed="rId3"/>
              </a:buBlip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НУР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установит цели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по снижению выбросов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ПГ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в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екторах</a:t>
            </a:r>
            <a:r>
              <a:rPr lang="en-US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: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энергетика, промышленность, ЖКХ,  транспорт, сельское хозяйство,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землепользование и управление отходами.</a:t>
            </a:r>
            <a:endParaRPr lang="en-US" sz="16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SzPct val="150000"/>
              <a:buFontTx/>
              <a:buBlip>
                <a:blip r:embed="rId3"/>
              </a:buBlip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НУР содержат рекомендации по совершенствованию действующих программ и политик, содержит планы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реализации и финансирования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достижения целей</a:t>
            </a:r>
            <a:endParaRPr lang="en-US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SzPct val="150000"/>
              <a:buFontTx/>
              <a:buBlip>
                <a:blip r:embed="rId3"/>
              </a:buBlip>
            </a:pP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СНУР дают странам финансовые, </a:t>
            </a:r>
            <a:r>
              <a:rPr lang="ru-RU" sz="16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экономические и управленческие </a:t>
            </a: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преимущества</a:t>
            </a:r>
            <a:r>
              <a:rPr lang="ru-RU" sz="1600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в меняющихся условиях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международной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торговли, которая становится </a:t>
            </a:r>
            <a:r>
              <a:rPr lang="ru-RU" sz="1600" dirty="0" err="1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климатоориентированной</a:t>
            </a:r>
            <a:endParaRPr lang="en-US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ts val="600"/>
              </a:spcAft>
              <a:buSzPct val="150000"/>
              <a:buFontTx/>
              <a:buBlip>
                <a:blip r:embed="rId3"/>
              </a:buBlip>
            </a:pP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СНУР следует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пересматривать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и обновлять каждые 5 лет в соответствии с пятилетним обзором и обновлением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NDC.</a:t>
            </a:r>
            <a:endParaRPr lang="en-US" sz="16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Скругленный прямоугольник 36">
            <a:extLst>
              <a:ext uri="{FF2B5EF4-FFF2-40B4-BE49-F238E27FC236}">
                <a16:creationId xmlns:a16="http://schemas.microsoft.com/office/drawing/2014/main" xmlns="" id="{596CD50E-FD4E-4381-9C30-51925B9D7785}"/>
              </a:ext>
            </a:extLst>
          </p:cNvPr>
          <p:cNvSpPr/>
          <p:nvPr/>
        </p:nvSpPr>
        <p:spPr bwMode="auto">
          <a:xfrm>
            <a:off x="453965" y="1563597"/>
            <a:ext cx="8179489" cy="1145323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Парижское соглашение </a:t>
            </a:r>
            <a:r>
              <a:rPr lang="en-US" sz="16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|</a:t>
            </a:r>
            <a:r>
              <a:rPr lang="ru-RU" sz="16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Все страны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РКИК ООН и Парижского соглашения призываются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разрабатывать и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распространять СНУР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. </a:t>
            </a: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13 </a:t>
            </a:r>
            <a:r>
              <a:rPr lang="ru-RU" sz="16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стран представили </a:t>
            </a: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СНУР в Секретариат РКИК ООН, </a:t>
            </a:r>
            <a:r>
              <a:rPr lang="ru-RU" sz="1600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40 стран в процессе </a:t>
            </a: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разработки.</a:t>
            </a:r>
            <a:endParaRPr lang="ru-RU" sz="1600" b="1" dirty="0">
              <a:solidFill>
                <a:srgbClr val="C00000"/>
              </a:solidFill>
              <a:latin typeface="Calibri" pitchFamily="34" charset="0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814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404664"/>
            <a:ext cx="8229600" cy="792088"/>
          </a:xfrm>
        </p:spPr>
        <p:txBody>
          <a:bodyPr>
            <a:normAutofit fontScale="90000"/>
          </a:bodyPr>
          <a:lstStyle/>
          <a:p>
            <a:pPr lvl="0">
              <a:spcBef>
                <a:spcPts val="0"/>
              </a:spcBef>
            </a:pPr>
            <a:r>
              <a:rPr lang="ru-RU" sz="3200" b="1" dirty="0">
                <a:solidFill>
                  <a:srgbClr val="C00000"/>
                </a:solidFill>
                <a:ea typeface="+mn-ea"/>
                <a:cs typeface="+mn-cs"/>
              </a:rPr>
              <a:t>Наилучшие международные </a:t>
            </a:r>
            <a:r>
              <a:rPr lang="ru-RU" sz="3200" b="1" dirty="0" smtClean="0">
                <a:solidFill>
                  <a:srgbClr val="C00000"/>
                </a:solidFill>
                <a:ea typeface="+mn-ea"/>
                <a:cs typeface="+mn-cs"/>
              </a:rPr>
              <a:t>практики учитываются при разработке СНУР </a:t>
            </a:r>
            <a:r>
              <a:rPr lang="ru-RU" sz="1800" b="1" kern="0" dirty="0">
                <a:solidFill>
                  <a:prstClr val="black"/>
                </a:solidFill>
                <a:ea typeface="+mn-ea"/>
                <a:cs typeface="+mn-cs"/>
              </a:rPr>
              <a:t/>
            </a:r>
            <a:br>
              <a:rPr lang="ru-RU" sz="1800" b="1" kern="0" dirty="0">
                <a:solidFill>
                  <a:prstClr val="black"/>
                </a:solidFill>
                <a:ea typeface="+mn-ea"/>
                <a:cs typeface="+mn-cs"/>
              </a:rPr>
            </a:br>
            <a:endParaRPr lang="ru-RU" sz="1600" i="1" dirty="0"/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467544" y="1340768"/>
            <a:ext cx="8229600" cy="496855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800" dirty="0"/>
              <a:t>Согласно </a:t>
            </a:r>
            <a:r>
              <a:rPr lang="ru-RU" sz="1800" dirty="0" smtClean="0"/>
              <a:t>наилучшим международным практикам,  </a:t>
            </a:r>
            <a:r>
              <a:rPr lang="ru-RU" sz="1800" dirty="0"/>
              <a:t>при разработке СНУР </a:t>
            </a:r>
            <a:r>
              <a:rPr lang="ru-RU" sz="1800" dirty="0" smtClean="0"/>
              <a:t>следует выполнять:</a:t>
            </a:r>
            <a:endParaRPr lang="ru-RU" sz="1800" dirty="0"/>
          </a:p>
          <a:p>
            <a:pPr>
              <a:buFont typeface="Wingdings" pitchFamily="2" charset="2"/>
              <a:buChar char="Ø"/>
            </a:pPr>
            <a:r>
              <a:rPr lang="ru-RU" sz="1800" dirty="0">
                <a:solidFill>
                  <a:srgbClr val="C00000"/>
                </a:solidFill>
              </a:rPr>
              <a:t>Анализ глобальных трендов </a:t>
            </a:r>
            <a:r>
              <a:rPr lang="ru-RU" sz="1800" dirty="0"/>
              <a:t>связанных с </a:t>
            </a:r>
            <a:r>
              <a:rPr lang="ru-RU" sz="1800" dirty="0" err="1"/>
              <a:t>низкоуглеродным</a:t>
            </a:r>
            <a:r>
              <a:rPr lang="ru-RU" sz="1800" dirty="0"/>
              <a:t> развитием;</a:t>
            </a:r>
          </a:p>
          <a:p>
            <a:pPr>
              <a:buFont typeface="Wingdings" pitchFamily="2" charset="2"/>
              <a:buChar char="Ø"/>
            </a:pPr>
            <a:r>
              <a:rPr lang="ru-RU" sz="1800" dirty="0">
                <a:solidFill>
                  <a:srgbClr val="C00000"/>
                </a:solidFill>
              </a:rPr>
              <a:t>Анализ рисков и возможностей </a:t>
            </a:r>
            <a:r>
              <a:rPr lang="ru-RU" sz="1800" dirty="0"/>
              <a:t>глобальной трансформации для Казахстана;</a:t>
            </a:r>
          </a:p>
          <a:p>
            <a:pPr>
              <a:spcBef>
                <a:spcPts val="1200"/>
              </a:spcBef>
              <a:buFont typeface="Wingdings" pitchFamily="2" charset="2"/>
              <a:buChar char="Ø"/>
            </a:pPr>
            <a:r>
              <a:rPr lang="ru-RU" sz="1800" dirty="0" smtClean="0">
                <a:solidFill>
                  <a:srgbClr val="C00000"/>
                </a:solidFill>
              </a:rPr>
              <a:t>Учесть </a:t>
            </a:r>
            <a:r>
              <a:rPr lang="ru-RU" sz="1800" dirty="0">
                <a:solidFill>
                  <a:srgbClr val="C00000"/>
                </a:solidFill>
              </a:rPr>
              <a:t>и проанализировать </a:t>
            </a:r>
            <a:r>
              <a:rPr lang="ru-RU" sz="1800" dirty="0" smtClean="0">
                <a:solidFill>
                  <a:srgbClr val="C00000"/>
                </a:solidFill>
              </a:rPr>
              <a:t>важные для страны текущие </a:t>
            </a:r>
            <a:r>
              <a:rPr lang="ru-RU" sz="1800" dirty="0">
                <a:solidFill>
                  <a:srgbClr val="C00000"/>
                </a:solidFill>
              </a:rPr>
              <a:t>и целевые</a:t>
            </a:r>
            <a:r>
              <a:rPr lang="ru-RU" sz="1800" dirty="0">
                <a:solidFill>
                  <a:srgbClr val="0070C0"/>
                </a:solidFill>
              </a:rPr>
              <a:t> </a:t>
            </a:r>
            <a:r>
              <a:rPr lang="ru-RU" sz="1800" dirty="0" smtClean="0">
                <a:solidFill>
                  <a:srgbClr val="C00000"/>
                </a:solidFill>
              </a:rPr>
              <a:t>показатели </a:t>
            </a:r>
            <a:r>
              <a:rPr lang="ru-RU" sz="1800" dirty="0" smtClean="0"/>
              <a:t>экономические, социальные</a:t>
            </a:r>
            <a:r>
              <a:rPr lang="ru-RU" sz="1800" dirty="0"/>
              <a:t> </a:t>
            </a:r>
            <a:r>
              <a:rPr lang="ru-RU" sz="1800" dirty="0" smtClean="0"/>
              <a:t>и </a:t>
            </a:r>
            <a:r>
              <a:rPr lang="ru-RU" sz="1800" dirty="0"/>
              <a:t>экологические (включая выбросы </a:t>
            </a:r>
            <a:r>
              <a:rPr lang="ru-RU" sz="1800" dirty="0" smtClean="0"/>
              <a:t>ПГ);</a:t>
            </a:r>
            <a:endParaRPr lang="ru-RU" sz="1800" dirty="0"/>
          </a:p>
          <a:p>
            <a:pPr>
              <a:buFont typeface="Wingdings" pitchFamily="2" charset="2"/>
              <a:buChar char="Ø"/>
            </a:pPr>
            <a:r>
              <a:rPr lang="ru-RU" sz="1800" dirty="0">
                <a:solidFill>
                  <a:srgbClr val="C00000"/>
                </a:solidFill>
              </a:rPr>
              <a:t>Ретроспективный анализ </a:t>
            </a:r>
            <a:r>
              <a:rPr lang="ru-RU" sz="1800" dirty="0" smtClean="0">
                <a:solidFill>
                  <a:srgbClr val="C00000"/>
                </a:solidFill>
              </a:rPr>
              <a:t>от целевых показателей к текущим</a:t>
            </a:r>
            <a:r>
              <a:rPr lang="ru-RU" sz="1800" dirty="0" smtClean="0"/>
              <a:t>, чтобы </a:t>
            </a:r>
            <a:r>
              <a:rPr lang="ru-RU" sz="1800" dirty="0" smtClean="0">
                <a:solidFill>
                  <a:srgbClr val="C00000"/>
                </a:solidFill>
              </a:rPr>
              <a:t>разработать необходимые шаги </a:t>
            </a:r>
            <a:r>
              <a:rPr lang="ru-RU" sz="1800" dirty="0">
                <a:solidFill>
                  <a:srgbClr val="C00000"/>
                </a:solidFill>
              </a:rPr>
              <a:t>для достижения </a:t>
            </a:r>
            <a:r>
              <a:rPr lang="ru-RU" sz="1800" dirty="0" smtClean="0">
                <a:solidFill>
                  <a:srgbClr val="C00000"/>
                </a:solidFill>
              </a:rPr>
              <a:t>целей;</a:t>
            </a:r>
            <a:endParaRPr lang="ru-RU" sz="1800" dirty="0">
              <a:solidFill>
                <a:srgbClr val="C00000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ru-RU" sz="1800" dirty="0">
                <a:solidFill>
                  <a:srgbClr val="C00000"/>
                </a:solidFill>
              </a:rPr>
              <a:t>Качественный анализ отраслевой структуры будущей экономики </a:t>
            </a:r>
            <a:r>
              <a:rPr lang="ru-RU" sz="1800" dirty="0"/>
              <a:t>в 2050 г. по </a:t>
            </a:r>
            <a:r>
              <a:rPr lang="ru-RU" sz="1800" dirty="0" smtClean="0"/>
              <a:t>сценариям;</a:t>
            </a:r>
            <a:endParaRPr lang="ru-RU" sz="1800" dirty="0"/>
          </a:p>
          <a:p>
            <a:pPr>
              <a:buFont typeface="Wingdings" pitchFamily="2" charset="2"/>
              <a:buChar char="Ø"/>
            </a:pPr>
            <a:r>
              <a:rPr lang="ru-RU" sz="1800" dirty="0" smtClean="0">
                <a:solidFill>
                  <a:srgbClr val="C00000"/>
                </a:solidFill>
              </a:rPr>
              <a:t>Анализ </a:t>
            </a:r>
            <a:r>
              <a:rPr lang="ru-RU" sz="1800" dirty="0">
                <a:solidFill>
                  <a:srgbClr val="C00000"/>
                </a:solidFill>
              </a:rPr>
              <a:t>технологических трансформаций в секторах</a:t>
            </a:r>
            <a:r>
              <a:rPr lang="ru-RU" sz="1800" dirty="0"/>
              <a:t>, необходимых для достижения целей </a:t>
            </a:r>
            <a:r>
              <a:rPr lang="ru-RU" sz="1800" dirty="0" smtClean="0"/>
              <a:t>СНУР;</a:t>
            </a:r>
            <a:endParaRPr lang="ru-RU" sz="1800" dirty="0"/>
          </a:p>
          <a:p>
            <a:pPr>
              <a:buFont typeface="Wingdings" pitchFamily="2" charset="2"/>
              <a:buChar char="Ø"/>
            </a:pPr>
            <a:r>
              <a:rPr lang="ru-RU" sz="1800" dirty="0">
                <a:solidFill>
                  <a:srgbClr val="C00000"/>
                </a:solidFill>
              </a:rPr>
              <a:t>Активно вовлекать все заинтересованные стороны </a:t>
            </a:r>
            <a:r>
              <a:rPr lang="ru-RU" sz="1800" dirty="0"/>
              <a:t>в процесс разработки </a:t>
            </a:r>
            <a:r>
              <a:rPr lang="ru-RU" sz="1800" dirty="0" smtClean="0"/>
              <a:t>СНУР</a:t>
            </a:r>
            <a:r>
              <a:rPr lang="ru-RU" sz="1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25864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2276873"/>
            <a:ext cx="7772400" cy="1362075"/>
          </a:xfrm>
        </p:spPr>
        <p:txBody>
          <a:bodyPr>
            <a:normAutofit/>
          </a:bodyPr>
          <a:lstStyle/>
          <a:p>
            <a:pPr algn="ctr"/>
            <a:r>
              <a:rPr lang="ru-RU" sz="2800" dirty="0">
                <a:solidFill>
                  <a:srgbClr val="C00000"/>
                </a:solidFill>
              </a:rPr>
              <a:t>Для чего нужны консультации со </a:t>
            </a:r>
            <a:r>
              <a:rPr lang="ru-RU" sz="2800" dirty="0" err="1" smtClean="0">
                <a:solidFill>
                  <a:srgbClr val="C00000"/>
                </a:solidFill>
              </a:rPr>
              <a:t>стейкхолдерами</a:t>
            </a:r>
            <a:r>
              <a:rPr lang="ru-RU" sz="2800" dirty="0" smtClean="0">
                <a:solidFill>
                  <a:srgbClr val="C00000"/>
                </a:solidFill>
              </a:rPr>
              <a:t>?</a:t>
            </a:r>
            <a:endParaRPr lang="ru-RU" sz="2800" dirty="0">
              <a:solidFill>
                <a:srgbClr val="C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755576" y="4149081"/>
            <a:ext cx="7772400" cy="1500187"/>
          </a:xfrm>
        </p:spPr>
        <p:txBody>
          <a:bodyPr/>
          <a:lstStyle/>
          <a:p>
            <a:pPr algn="ctr"/>
            <a:r>
              <a:rPr lang="ru-RU" dirty="0"/>
              <a:t>Заинтересованные стороны, участвующие в консультациях, должны представлять все соответствующие министерства и ведомства, регионы, муниципалитеты, бизнес-ассоциации и </a:t>
            </a:r>
            <a:r>
              <a:rPr lang="ru-RU" dirty="0" smtClean="0"/>
              <a:t>гражданское общество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94149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395536" y="548680"/>
            <a:ext cx="8424862" cy="5832475"/>
          </a:xfrm>
        </p:spPr>
        <p:txBody>
          <a:bodyPr>
            <a:noAutofit/>
          </a:bodyPr>
          <a:lstStyle/>
          <a:p>
            <a:pPr marL="0" lvl="0" indent="0" algn="just">
              <a:buNone/>
            </a:pPr>
            <a:r>
              <a:rPr lang="ru-RU" sz="2000" dirty="0" smtClean="0"/>
              <a:t>Взаимодействие </a:t>
            </a:r>
            <a:r>
              <a:rPr lang="ru-RU" sz="2000" dirty="0"/>
              <a:t>со </a:t>
            </a:r>
            <a:r>
              <a:rPr lang="ru-RU" sz="2000" dirty="0" err="1"/>
              <a:t>стейкхолдерами</a:t>
            </a:r>
            <a:r>
              <a:rPr lang="ru-RU" sz="2000" dirty="0"/>
              <a:t> </a:t>
            </a:r>
            <a:r>
              <a:rPr lang="ru-RU" sz="2000" dirty="0" smtClean="0"/>
              <a:t>является сквозным мероприятием </a:t>
            </a:r>
            <a:r>
              <a:rPr lang="ru-RU" sz="2000" dirty="0"/>
              <a:t>проекта в течение всего процесса разработки </a:t>
            </a:r>
            <a:r>
              <a:rPr lang="ru-RU" sz="2000" dirty="0" smtClean="0"/>
              <a:t>СНУР.</a:t>
            </a:r>
            <a:r>
              <a:rPr lang="ru-RU" sz="2000" b="1" dirty="0" smtClean="0">
                <a:solidFill>
                  <a:srgbClr val="C00000"/>
                </a:solidFill>
              </a:rPr>
              <a:t>  Он важен для:</a:t>
            </a:r>
          </a:p>
          <a:p>
            <a:pPr marL="0" lvl="0" indent="0" algn="just">
              <a:buNone/>
            </a:pPr>
            <a:r>
              <a:rPr lang="ru-RU" sz="2000" dirty="0" smtClean="0"/>
              <a:t>(1) организации </a:t>
            </a:r>
            <a:r>
              <a:rPr lang="ru-RU" sz="2000" b="1" dirty="0">
                <a:solidFill>
                  <a:srgbClr val="C00000"/>
                </a:solidFill>
              </a:rPr>
              <a:t>интерактивного процесса формирования </a:t>
            </a:r>
            <a:r>
              <a:rPr lang="ru-RU" sz="2000" b="1" dirty="0" smtClean="0">
                <a:solidFill>
                  <a:srgbClr val="C00000"/>
                </a:solidFill>
              </a:rPr>
              <a:t>казахстанским обществом своего стратегического видения экономического </a:t>
            </a:r>
            <a:r>
              <a:rPr lang="ru-RU" sz="2000" b="1" dirty="0" err="1">
                <a:solidFill>
                  <a:srgbClr val="C00000"/>
                </a:solidFill>
              </a:rPr>
              <a:t>низкоуглеродного</a:t>
            </a:r>
            <a:r>
              <a:rPr lang="ru-RU" sz="2000" b="1" dirty="0">
                <a:solidFill>
                  <a:srgbClr val="C00000"/>
                </a:solidFill>
              </a:rPr>
              <a:t> будущего </a:t>
            </a:r>
            <a:r>
              <a:rPr lang="ru-RU" sz="2000" b="1" dirty="0" smtClean="0">
                <a:solidFill>
                  <a:srgbClr val="C00000"/>
                </a:solidFill>
              </a:rPr>
              <a:t>до </a:t>
            </a:r>
            <a:r>
              <a:rPr lang="ru-RU" sz="2000" b="1" dirty="0">
                <a:solidFill>
                  <a:srgbClr val="C00000"/>
                </a:solidFill>
              </a:rPr>
              <a:t>2050 </a:t>
            </a:r>
            <a:r>
              <a:rPr lang="ru-RU" sz="2000" b="1" dirty="0" smtClean="0">
                <a:solidFill>
                  <a:srgbClr val="C00000"/>
                </a:solidFill>
              </a:rPr>
              <a:t>года. </a:t>
            </a:r>
            <a:r>
              <a:rPr lang="ru-RU" sz="2000" dirty="0" smtClean="0"/>
              <a:t>В идеале, это должно быть процветание. </a:t>
            </a:r>
            <a:endParaRPr lang="ru-RU" sz="1800" dirty="0" smtClean="0"/>
          </a:p>
          <a:p>
            <a:pPr marL="0" indent="0" algn="just">
              <a:buNone/>
            </a:pPr>
            <a:r>
              <a:rPr lang="ru-RU" sz="2000" dirty="0" smtClean="0"/>
              <a:t>(2) обеспечения </a:t>
            </a:r>
            <a:r>
              <a:rPr lang="ru-RU" sz="2000" b="1" dirty="0" smtClean="0">
                <a:solidFill>
                  <a:srgbClr val="C00000"/>
                </a:solidFill>
              </a:rPr>
              <a:t>социально справедливого перераспределения бремени </a:t>
            </a:r>
            <a:r>
              <a:rPr lang="ru-RU" sz="2000" b="1" dirty="0">
                <a:solidFill>
                  <a:srgbClr val="C00000"/>
                </a:solidFill>
              </a:rPr>
              <a:t>затрат и выгод </a:t>
            </a:r>
            <a:r>
              <a:rPr lang="ru-RU" sz="2000" b="1" dirty="0" smtClean="0">
                <a:solidFill>
                  <a:srgbClr val="C00000"/>
                </a:solidFill>
              </a:rPr>
              <a:t>от климатических действий между </a:t>
            </a:r>
            <a:r>
              <a:rPr lang="ru-RU" sz="2000" b="1" dirty="0">
                <a:solidFill>
                  <a:srgbClr val="C00000"/>
                </a:solidFill>
              </a:rPr>
              <a:t>различными социальными </a:t>
            </a:r>
            <a:r>
              <a:rPr lang="ru-RU" sz="2000" b="1" dirty="0" smtClean="0">
                <a:solidFill>
                  <a:srgbClr val="C00000"/>
                </a:solidFill>
              </a:rPr>
              <a:t>группами </a:t>
            </a:r>
            <a:r>
              <a:rPr lang="ru-RU" sz="2000" dirty="0"/>
              <a:t>приемлемым для общества </a:t>
            </a:r>
            <a:r>
              <a:rPr lang="ru-RU" sz="2000" dirty="0" smtClean="0"/>
              <a:t>образом. </a:t>
            </a:r>
          </a:p>
          <a:p>
            <a:pPr marL="0" indent="0" algn="just">
              <a:buNone/>
            </a:pPr>
            <a:r>
              <a:rPr lang="ru-RU" sz="2000" dirty="0" smtClean="0"/>
              <a:t>В этой связи </a:t>
            </a:r>
            <a:r>
              <a:rPr lang="ru-RU" sz="2000" b="1" dirty="0" smtClean="0">
                <a:solidFill>
                  <a:srgbClr val="C00000"/>
                </a:solidFill>
              </a:rPr>
              <a:t>взаимодействие со </a:t>
            </a:r>
            <a:r>
              <a:rPr lang="ru-RU" sz="2000" b="1" dirty="0" err="1" smtClean="0">
                <a:solidFill>
                  <a:srgbClr val="C00000"/>
                </a:solidFill>
              </a:rPr>
              <a:t>стейкхолдерами</a:t>
            </a:r>
            <a:r>
              <a:rPr lang="ru-RU" sz="2000" b="1" dirty="0" smtClean="0">
                <a:solidFill>
                  <a:srgbClr val="C00000"/>
                </a:solidFill>
              </a:rPr>
              <a:t> позволяет команде проекта</a:t>
            </a:r>
            <a:r>
              <a:rPr lang="ru-RU" sz="2000" dirty="0" smtClean="0">
                <a:solidFill>
                  <a:srgbClr val="C00000"/>
                </a:solidFill>
              </a:rPr>
              <a:t>:</a:t>
            </a:r>
          </a:p>
          <a:p>
            <a:pPr algn="just">
              <a:buFontTx/>
              <a:buChar char="-"/>
            </a:pPr>
            <a:r>
              <a:rPr lang="ru-RU" sz="2000" dirty="0" smtClean="0"/>
              <a:t>не только </a:t>
            </a:r>
            <a:r>
              <a:rPr lang="ru-RU" sz="2000" b="1" dirty="0" smtClean="0">
                <a:solidFill>
                  <a:srgbClr val="C00000"/>
                </a:solidFill>
              </a:rPr>
              <a:t>собрать недостающие данные </a:t>
            </a:r>
            <a:r>
              <a:rPr lang="ru-RU" sz="2000" dirty="0" smtClean="0"/>
              <a:t>для качественного моделирования текущего состояния секторов экономики, данные об используемых технологиях и инфраструктуре, </a:t>
            </a:r>
            <a:r>
              <a:rPr lang="ru-RU" sz="2000" dirty="0"/>
              <a:t>но также </a:t>
            </a:r>
            <a:endParaRPr lang="ru-RU" sz="2000" dirty="0" smtClean="0"/>
          </a:p>
          <a:p>
            <a:pPr algn="just">
              <a:buFontTx/>
              <a:buChar char="-"/>
            </a:pPr>
            <a:r>
              <a:rPr lang="ru-RU" sz="2000" b="1" dirty="0" smtClean="0">
                <a:solidFill>
                  <a:srgbClr val="C00000"/>
                </a:solidFill>
              </a:rPr>
              <a:t>выявлять проблемы </a:t>
            </a:r>
            <a:r>
              <a:rPr lang="ru-RU" sz="2000" dirty="0" smtClean="0"/>
              <a:t>развития </a:t>
            </a:r>
            <a:r>
              <a:rPr lang="ru-RU" sz="2000" b="1" dirty="0" smtClean="0">
                <a:solidFill>
                  <a:srgbClr val="C00000"/>
                </a:solidFill>
              </a:rPr>
              <a:t>и барьеры</a:t>
            </a:r>
            <a:r>
              <a:rPr lang="ru-RU" sz="2000" dirty="0" smtClean="0"/>
              <a:t>, мешающие модернизации и диверсификации;</a:t>
            </a:r>
          </a:p>
        </p:txBody>
      </p:sp>
    </p:spTree>
    <p:extLst>
      <p:ext uri="{BB962C8B-B14F-4D97-AF65-F5344CB8AC3E}">
        <p14:creationId xmlns:p14="http://schemas.microsoft.com/office/powerpoint/2010/main" val="3972025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23528" y="404664"/>
            <a:ext cx="8568952" cy="57708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Bef>
                <a:spcPct val="20000"/>
              </a:spcBef>
              <a:buFontTx/>
              <a:buChar char="-"/>
            </a:pPr>
            <a:r>
              <a:rPr lang="ru-RU" sz="2000" b="1" dirty="0">
                <a:solidFill>
                  <a:srgbClr val="C00000"/>
                </a:solidFill>
              </a:rPr>
              <a:t>обсудить</a:t>
            </a:r>
            <a:r>
              <a:rPr lang="ru-RU" sz="2000" dirty="0">
                <a:solidFill>
                  <a:prstClr val="black"/>
                </a:solidFill>
              </a:rPr>
              <a:t> количественные и качественные </a:t>
            </a:r>
            <a:r>
              <a:rPr lang="ru-RU" sz="2000" b="1" dirty="0">
                <a:solidFill>
                  <a:srgbClr val="C00000"/>
                </a:solidFill>
              </a:rPr>
              <a:t>результаты анализа </a:t>
            </a:r>
            <a:r>
              <a:rPr lang="ru-RU" sz="2000" dirty="0">
                <a:solidFill>
                  <a:prstClr val="black"/>
                </a:solidFill>
              </a:rPr>
              <a:t>(которые будут получены позже), </a:t>
            </a:r>
            <a:r>
              <a:rPr lang="ru-RU" sz="2000" b="1" dirty="0">
                <a:solidFill>
                  <a:srgbClr val="C00000"/>
                </a:solidFill>
              </a:rPr>
              <a:t>необходимые технологические преобразования в секторах, кросс-секторальные воздействия и критерии приемлемости политик и </a:t>
            </a:r>
            <a:r>
              <a:rPr lang="ru-RU" sz="2000" b="1" dirty="0" smtClean="0">
                <a:solidFill>
                  <a:srgbClr val="C00000"/>
                </a:solidFill>
              </a:rPr>
              <a:t>мер</a:t>
            </a:r>
            <a:r>
              <a:rPr lang="ru-RU" sz="2000" dirty="0" smtClean="0">
                <a:solidFill>
                  <a:prstClr val="black"/>
                </a:solidFill>
              </a:rPr>
              <a:t>, которые будут определены как эффективные в результате анализа затрат и выгод;</a:t>
            </a:r>
            <a:endParaRPr lang="ru-RU" sz="2000" dirty="0">
              <a:solidFill>
                <a:prstClr val="black"/>
              </a:solidFill>
            </a:endParaRPr>
          </a:p>
          <a:p>
            <a:pPr marL="342900" indent="-342900" algn="just">
              <a:spcBef>
                <a:spcPct val="20000"/>
              </a:spcBef>
              <a:buFontTx/>
              <a:buChar char="-"/>
            </a:pPr>
            <a:r>
              <a:rPr lang="ru-RU" sz="2000" dirty="0">
                <a:solidFill>
                  <a:prstClr val="black"/>
                </a:solidFill>
              </a:rPr>
              <a:t>и наконец, </a:t>
            </a:r>
            <a:r>
              <a:rPr lang="ru-RU" sz="2000" b="1" dirty="0">
                <a:solidFill>
                  <a:srgbClr val="C00000"/>
                </a:solidFill>
              </a:rPr>
              <a:t>достичь консенсуса и приятия </a:t>
            </a:r>
            <a:r>
              <a:rPr lang="ru-RU" sz="2000" b="1" dirty="0" smtClean="0">
                <a:solidFill>
                  <a:srgbClr val="C00000"/>
                </a:solidFill>
              </a:rPr>
              <a:t>обществом и Правительством РК итогового документа (СНУР), </a:t>
            </a:r>
            <a:r>
              <a:rPr lang="ru-RU" sz="2000" b="1" dirty="0">
                <a:solidFill>
                  <a:srgbClr val="C00000"/>
                </a:solidFill>
              </a:rPr>
              <a:t>который будет разработан командой </a:t>
            </a:r>
            <a:r>
              <a:rPr lang="ru-RU" sz="2000" b="1" dirty="0" smtClean="0">
                <a:solidFill>
                  <a:srgbClr val="C00000"/>
                </a:solidFill>
              </a:rPr>
              <a:t>проекта</a:t>
            </a:r>
            <a:r>
              <a:rPr lang="ru-RU" sz="2000" dirty="0">
                <a:solidFill>
                  <a:prstClr val="black"/>
                </a:solidFill>
              </a:rPr>
              <a:t>.</a:t>
            </a:r>
            <a:r>
              <a:rPr lang="ru-RU" sz="2000" dirty="0" smtClean="0">
                <a:solidFill>
                  <a:prstClr val="black"/>
                </a:solidFill>
              </a:rPr>
              <a:t> Достижение консенсуса на этом этапе положит </a:t>
            </a:r>
            <a:r>
              <a:rPr lang="ru-RU" sz="2000" dirty="0">
                <a:solidFill>
                  <a:prstClr val="black"/>
                </a:solidFill>
              </a:rPr>
              <a:t>отличное начало для взаимодействия при дальнейших обновлениях </a:t>
            </a:r>
            <a:r>
              <a:rPr lang="en-US" sz="2000" dirty="0">
                <a:solidFill>
                  <a:prstClr val="black"/>
                </a:solidFill>
              </a:rPr>
              <a:t>NDC </a:t>
            </a:r>
            <a:r>
              <a:rPr lang="ru-RU" sz="2000" dirty="0">
                <a:solidFill>
                  <a:prstClr val="black"/>
                </a:solidFill>
              </a:rPr>
              <a:t>и СНУР.</a:t>
            </a:r>
          </a:p>
          <a:p>
            <a:pPr algn="just"/>
            <a:endParaRPr lang="ru-RU" sz="2000" dirty="0" smtClean="0">
              <a:solidFill>
                <a:prstClr val="black"/>
              </a:solidFill>
            </a:endParaRPr>
          </a:p>
          <a:p>
            <a:pPr algn="just"/>
            <a:r>
              <a:rPr lang="ru-RU" sz="2000" dirty="0" smtClean="0">
                <a:solidFill>
                  <a:prstClr val="black"/>
                </a:solidFill>
              </a:rPr>
              <a:t>В настоящее время (</a:t>
            </a:r>
            <a:r>
              <a:rPr lang="ru-RU" sz="2000" b="1" dirty="0" smtClean="0">
                <a:solidFill>
                  <a:srgbClr val="C00000"/>
                </a:solidFill>
              </a:rPr>
              <a:t>до конца апреля</a:t>
            </a:r>
            <a:r>
              <a:rPr lang="ru-RU" sz="2000" dirty="0" smtClean="0">
                <a:solidFill>
                  <a:prstClr val="black"/>
                </a:solidFill>
              </a:rPr>
              <a:t>) команда </a:t>
            </a:r>
            <a:r>
              <a:rPr lang="ru-RU" sz="2000" dirty="0">
                <a:solidFill>
                  <a:prstClr val="black"/>
                </a:solidFill>
              </a:rPr>
              <a:t>проекта </a:t>
            </a:r>
            <a:r>
              <a:rPr lang="ru-RU" sz="2000" dirty="0" smtClean="0">
                <a:solidFill>
                  <a:prstClr val="black"/>
                </a:solidFill>
              </a:rPr>
              <a:t>ожидает от </a:t>
            </a:r>
            <a:r>
              <a:rPr lang="ru-RU" sz="2000" dirty="0" err="1">
                <a:solidFill>
                  <a:prstClr val="black"/>
                </a:solidFill>
              </a:rPr>
              <a:t>стейкхолдеров</a:t>
            </a:r>
            <a:r>
              <a:rPr lang="ru-RU" sz="2000" dirty="0" smtClean="0">
                <a:solidFill>
                  <a:prstClr val="black"/>
                </a:solidFill>
              </a:rPr>
              <a:t> критические </a:t>
            </a:r>
            <a:r>
              <a:rPr lang="ru-RU" sz="2000" dirty="0">
                <a:solidFill>
                  <a:prstClr val="black"/>
                </a:solidFill>
              </a:rPr>
              <a:t>замечания и предложения </a:t>
            </a:r>
            <a:r>
              <a:rPr lang="ru-RU" sz="2000" dirty="0" smtClean="0">
                <a:solidFill>
                  <a:prstClr val="black"/>
                </a:solidFill>
              </a:rPr>
              <a:t>по описанным в </a:t>
            </a:r>
            <a:r>
              <a:rPr lang="en-US" sz="2000" dirty="0" smtClean="0">
                <a:solidFill>
                  <a:prstClr val="black"/>
                </a:solidFill>
              </a:rPr>
              <a:t>Narrative </a:t>
            </a:r>
            <a:r>
              <a:rPr lang="en-US" sz="2000" dirty="0">
                <a:solidFill>
                  <a:prstClr val="black"/>
                </a:solidFill>
              </a:rPr>
              <a:t>Report</a:t>
            </a:r>
            <a:r>
              <a:rPr lang="ru-RU" sz="2000" dirty="0">
                <a:solidFill>
                  <a:prstClr val="black"/>
                </a:solidFill>
              </a:rPr>
              <a:t> </a:t>
            </a:r>
            <a:r>
              <a:rPr lang="ru-RU" sz="2000" dirty="0" smtClean="0">
                <a:solidFill>
                  <a:prstClr val="black"/>
                </a:solidFill>
              </a:rPr>
              <a:t>сценариям. </a:t>
            </a:r>
            <a:r>
              <a:rPr lang="ru-RU" sz="2000" b="1" dirty="0" smtClean="0">
                <a:solidFill>
                  <a:srgbClr val="C00000"/>
                </a:solidFill>
              </a:rPr>
              <a:t>Но пока </a:t>
            </a:r>
            <a:r>
              <a:rPr lang="ru-RU" sz="2000" b="1" dirty="0">
                <a:solidFill>
                  <a:srgbClr val="C00000"/>
                </a:solidFill>
              </a:rPr>
              <a:t>наблюдается очень слабая активность</a:t>
            </a:r>
            <a:r>
              <a:rPr lang="ru-RU" sz="2000" dirty="0">
                <a:solidFill>
                  <a:prstClr val="black"/>
                </a:solidFill>
              </a:rPr>
              <a:t>.</a:t>
            </a:r>
          </a:p>
          <a:p>
            <a:pPr algn="just">
              <a:spcBef>
                <a:spcPts val="600"/>
              </a:spcBef>
            </a:pPr>
            <a:r>
              <a:rPr lang="ru-RU" sz="2000" b="1" dirty="0" smtClean="0">
                <a:solidFill>
                  <a:srgbClr val="C00000"/>
                </a:solidFill>
              </a:rPr>
              <a:t>До конца мая</a:t>
            </a:r>
            <a:r>
              <a:rPr lang="ru-RU" sz="2000" dirty="0" smtClean="0">
                <a:solidFill>
                  <a:prstClr val="black"/>
                </a:solidFill>
              </a:rPr>
              <a:t> </a:t>
            </a:r>
            <a:r>
              <a:rPr lang="ru-RU" sz="2000" b="1" dirty="0">
                <a:solidFill>
                  <a:srgbClr val="C00000"/>
                </a:solidFill>
              </a:rPr>
              <a:t>скорректированное описание </a:t>
            </a:r>
            <a:r>
              <a:rPr lang="ru-RU" sz="2000" b="1" dirty="0" smtClean="0">
                <a:solidFill>
                  <a:srgbClr val="C00000"/>
                </a:solidFill>
              </a:rPr>
              <a:t>сценариев должно быть утверждено</a:t>
            </a:r>
            <a:r>
              <a:rPr lang="ru-RU" sz="2000" dirty="0" smtClean="0">
                <a:solidFill>
                  <a:prstClr val="black"/>
                </a:solidFill>
              </a:rPr>
              <a:t>. Это необходимо, чтобы моделисты приступили к глубокому анализу сценариев. Достижение консенсуса по описаниям сценариев позволит направить </a:t>
            </a:r>
            <a:r>
              <a:rPr lang="ru-RU" sz="2000" b="1" dirty="0">
                <a:solidFill>
                  <a:srgbClr val="C00000"/>
                </a:solidFill>
              </a:rPr>
              <a:t>обсуждение результатов анализа </a:t>
            </a:r>
            <a:r>
              <a:rPr lang="ru-RU" sz="2000" b="1" dirty="0" smtClean="0">
                <a:solidFill>
                  <a:srgbClr val="C00000"/>
                </a:solidFill>
              </a:rPr>
              <a:t>сценариев на последующих этапах </a:t>
            </a:r>
            <a:r>
              <a:rPr lang="ru-RU" sz="2000" dirty="0">
                <a:solidFill>
                  <a:prstClr val="black"/>
                </a:solidFill>
              </a:rPr>
              <a:t>(в мае, июле, </a:t>
            </a:r>
            <a:r>
              <a:rPr lang="ru-RU" sz="2000" dirty="0" smtClean="0">
                <a:solidFill>
                  <a:prstClr val="black"/>
                </a:solidFill>
              </a:rPr>
              <a:t>сентябре) </a:t>
            </a:r>
            <a:r>
              <a:rPr lang="ru-RU" sz="2000" b="1" dirty="0" smtClean="0">
                <a:solidFill>
                  <a:srgbClr val="C00000"/>
                </a:solidFill>
              </a:rPr>
              <a:t>в конструктивное русло.</a:t>
            </a:r>
            <a:endParaRPr lang="ru-RU" sz="20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475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11560" y="2780929"/>
            <a:ext cx="7772400" cy="792088"/>
          </a:xfrm>
        </p:spPr>
        <p:txBody>
          <a:bodyPr>
            <a:normAutofit/>
          </a:bodyPr>
          <a:lstStyle/>
          <a:p>
            <a:pPr algn="ctr"/>
            <a:r>
              <a:rPr lang="ru-RU" sz="2800" dirty="0">
                <a:solidFill>
                  <a:srgbClr val="C00000"/>
                </a:solidFill>
              </a:rPr>
              <a:t>О сути </a:t>
            </a:r>
            <a:r>
              <a:rPr lang="ru-RU" dirty="0">
                <a:solidFill>
                  <a:srgbClr val="C00000"/>
                </a:solidFill>
              </a:rPr>
              <a:t>проекта</a:t>
            </a:r>
          </a:p>
        </p:txBody>
      </p:sp>
    </p:spTree>
    <p:extLst>
      <p:ext uri="{BB962C8B-B14F-4D97-AF65-F5344CB8AC3E}">
        <p14:creationId xmlns:p14="http://schemas.microsoft.com/office/powerpoint/2010/main" val="4280254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2276873"/>
            <a:ext cx="7772400" cy="165618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</a:rPr>
              <a:t>руководитель проекта </a:t>
            </a:r>
            <a:r>
              <a:rPr lang="ru-RU" sz="2000" dirty="0" err="1" smtClean="0">
                <a:solidFill>
                  <a:schemeClr val="bg1">
                    <a:lumMod val="50000"/>
                  </a:schemeClr>
                </a:solidFill>
              </a:rPr>
              <a:t>giz</a:t>
            </a:r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2000" dirty="0" err="1" smtClean="0">
                <a:solidFill>
                  <a:schemeClr val="bg1">
                    <a:lumMod val="50000"/>
                  </a:schemeClr>
                </a:solidFill>
              </a:rPr>
              <a:t>йоханнес</a:t>
            </a:r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2000" dirty="0" err="1" smtClean="0">
                <a:solidFill>
                  <a:schemeClr val="bg1">
                    <a:lumMod val="50000"/>
                  </a:schemeClr>
                </a:solidFill>
              </a:rPr>
              <a:t>шуманн</a:t>
            </a:r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br>
              <a:rPr lang="ru-RU" sz="2000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2800" dirty="0">
                <a:solidFill>
                  <a:srgbClr val="0070C0"/>
                </a:solidFill>
              </a:rPr>
              <a:t/>
            </a:r>
            <a:br>
              <a:rPr lang="ru-RU" sz="2800" dirty="0">
                <a:solidFill>
                  <a:srgbClr val="0070C0"/>
                </a:solidFill>
              </a:rPr>
            </a:br>
            <a:r>
              <a:rPr lang="ru-RU" sz="2800" dirty="0" smtClean="0">
                <a:solidFill>
                  <a:srgbClr val="C00000"/>
                </a:solidFill>
              </a:rPr>
              <a:t>о </a:t>
            </a:r>
            <a:r>
              <a:rPr lang="ru-RU" sz="2800" dirty="0">
                <a:solidFill>
                  <a:srgbClr val="C00000"/>
                </a:solidFill>
              </a:rPr>
              <a:t>целях и результатах консультационных совещаний со </a:t>
            </a:r>
            <a:r>
              <a:rPr lang="ru-RU" sz="2800" dirty="0" err="1" smtClean="0">
                <a:solidFill>
                  <a:srgbClr val="C00000"/>
                </a:solidFill>
              </a:rPr>
              <a:t>стейкхолдерами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377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323528" y="260648"/>
            <a:ext cx="8229600" cy="6480720"/>
          </a:xfrm>
        </p:spPr>
        <p:txBody>
          <a:bodyPr>
            <a:noAutofit/>
          </a:bodyPr>
          <a:lstStyle/>
          <a:p>
            <a:pPr>
              <a:buFont typeface="Wingdings" pitchFamily="2" charset="2"/>
              <a:buChar char="Ø"/>
            </a:pPr>
            <a:r>
              <a:rPr lang="ru-RU" sz="2000" b="1" dirty="0" smtClean="0">
                <a:solidFill>
                  <a:srgbClr val="C00000"/>
                </a:solidFill>
              </a:rPr>
              <a:t>Цель консультационных совещаний </a:t>
            </a:r>
            <a:r>
              <a:rPr lang="ru-RU" sz="2000" dirty="0" smtClean="0"/>
              <a:t>с заинтересованными сторонами: (1) </a:t>
            </a:r>
            <a:r>
              <a:rPr lang="ru-RU" sz="2000" i="1" dirty="0"/>
              <a:t>заинтересованным сторонам </a:t>
            </a:r>
            <a:r>
              <a:rPr lang="ru-RU" sz="2000" dirty="0" smtClean="0"/>
              <a:t>предоставить возможность </a:t>
            </a:r>
            <a:r>
              <a:rPr lang="ru-RU" sz="2000" dirty="0"/>
              <a:t>участвовать, собирать информацию, </a:t>
            </a:r>
            <a:r>
              <a:rPr lang="ru-RU" sz="2000" dirty="0" smtClean="0"/>
              <a:t>(2) </a:t>
            </a:r>
            <a:r>
              <a:rPr lang="ru-RU" sz="2000" i="1" dirty="0"/>
              <a:t>международному </a:t>
            </a:r>
            <a:r>
              <a:rPr lang="ru-RU" sz="2000" i="1" dirty="0" smtClean="0"/>
              <a:t>консультанту </a:t>
            </a:r>
            <a:r>
              <a:rPr lang="ru-RU" sz="2000" dirty="0" smtClean="0"/>
              <a:t>обсуждать с заинтересованными сторонами  в  Казахстане</a:t>
            </a:r>
            <a:r>
              <a:rPr lang="ru-RU" sz="2000" i="1" dirty="0" smtClean="0"/>
              <a:t> </a:t>
            </a:r>
            <a:r>
              <a:rPr lang="ru-RU" sz="2000" dirty="0" smtClean="0"/>
              <a:t>результаты исследований и </a:t>
            </a:r>
            <a:r>
              <a:rPr lang="ru-RU" sz="2000" dirty="0"/>
              <a:t>адаптировать </a:t>
            </a:r>
            <a:r>
              <a:rPr lang="ru-RU" sz="2000" dirty="0" smtClean="0"/>
              <a:t>полученные результаты моделирования </a:t>
            </a:r>
            <a:r>
              <a:rPr lang="ru-RU" sz="2000" dirty="0"/>
              <a:t>к местным условиям. </a:t>
            </a:r>
            <a:endParaRPr lang="ru-RU" sz="2000" dirty="0" smtClean="0"/>
          </a:p>
          <a:p>
            <a:pPr>
              <a:buFont typeface="Wingdings" pitchFamily="2" charset="2"/>
              <a:buChar char="Ø"/>
            </a:pPr>
            <a:r>
              <a:rPr lang="ru-RU" sz="2000" dirty="0" smtClean="0"/>
              <a:t>Консультации </a:t>
            </a:r>
            <a:r>
              <a:rPr lang="ru-RU" sz="2000" dirty="0"/>
              <a:t>с заинтересованными сторонами в ноябре были </a:t>
            </a:r>
            <a:r>
              <a:rPr lang="ru-RU" sz="2000" b="1" dirty="0">
                <a:solidFill>
                  <a:srgbClr val="C00000"/>
                </a:solidFill>
              </a:rPr>
              <a:t>очень </a:t>
            </a:r>
            <a:r>
              <a:rPr lang="ru-RU" sz="2000" b="1" dirty="0" smtClean="0">
                <a:solidFill>
                  <a:srgbClr val="C00000"/>
                </a:solidFill>
              </a:rPr>
              <a:t>полезными</a:t>
            </a:r>
            <a:r>
              <a:rPr lang="ru-RU" sz="2000" dirty="0">
                <a:solidFill>
                  <a:srgbClr val="C00000"/>
                </a:solidFill>
              </a:rPr>
              <a:t>.</a:t>
            </a:r>
            <a:r>
              <a:rPr lang="ru-RU" sz="2000" dirty="0" smtClean="0">
                <a:solidFill>
                  <a:srgbClr val="C00000"/>
                </a:solidFill>
              </a:rPr>
              <a:t> </a:t>
            </a:r>
            <a:r>
              <a:rPr lang="ru-RU" sz="2000" b="1" dirty="0" smtClean="0">
                <a:solidFill>
                  <a:srgbClr val="C00000"/>
                </a:solidFill>
              </a:rPr>
              <a:t>Информация, </a:t>
            </a:r>
            <a:r>
              <a:rPr lang="ru-RU" sz="2000" b="1" dirty="0">
                <a:solidFill>
                  <a:srgbClr val="C00000"/>
                </a:solidFill>
              </a:rPr>
              <a:t>собранная </a:t>
            </a:r>
            <a:r>
              <a:rPr lang="ru-RU" sz="2000" dirty="0"/>
              <a:t>в ходе консультаций с заинтересованными сторонами, была </a:t>
            </a:r>
            <a:r>
              <a:rPr lang="ru-RU" sz="2000" b="1" dirty="0">
                <a:solidFill>
                  <a:srgbClr val="C00000"/>
                </a:solidFill>
              </a:rPr>
              <a:t>включена в </a:t>
            </a:r>
            <a:r>
              <a:rPr lang="ru-RU" sz="2000" b="1" dirty="0" smtClean="0">
                <a:solidFill>
                  <a:srgbClr val="C00000"/>
                </a:solidFill>
              </a:rPr>
              <a:t>отчет </a:t>
            </a:r>
            <a:r>
              <a:rPr lang="en-US" sz="2000" dirty="0" smtClean="0"/>
              <a:t>A</a:t>
            </a:r>
            <a:r>
              <a:rPr lang="ru-RU" sz="2000" dirty="0" err="1" smtClean="0"/>
              <a:t>delphi</a:t>
            </a:r>
            <a:r>
              <a:rPr lang="ru-RU" sz="2000" dirty="0"/>
              <a:t>. </a:t>
            </a:r>
            <a:endParaRPr lang="ru-RU" sz="2000" dirty="0" smtClean="0"/>
          </a:p>
          <a:p>
            <a:pPr>
              <a:buFont typeface="Wingdings" pitchFamily="2" charset="2"/>
              <a:buChar char="Ø"/>
            </a:pPr>
            <a:r>
              <a:rPr lang="ru-RU" sz="2000" dirty="0" smtClean="0"/>
              <a:t>То </a:t>
            </a:r>
            <a:r>
              <a:rPr lang="ru-RU" sz="2000" dirty="0"/>
              <a:t>же самое относится и к </a:t>
            </a:r>
            <a:r>
              <a:rPr lang="ru-RU" sz="2000" b="1" dirty="0" smtClean="0">
                <a:solidFill>
                  <a:srgbClr val="C00000"/>
                </a:solidFill>
              </a:rPr>
              <a:t>мартовским консультациям </a:t>
            </a:r>
            <a:r>
              <a:rPr lang="ru-RU" sz="2000" dirty="0"/>
              <a:t>с заинтересованными сторонами по модели SD. </a:t>
            </a:r>
            <a:r>
              <a:rPr lang="ru-RU" sz="2000" b="1" dirty="0">
                <a:solidFill>
                  <a:srgbClr val="C00000"/>
                </a:solidFill>
              </a:rPr>
              <a:t>Информация</a:t>
            </a:r>
            <a:r>
              <a:rPr lang="ru-RU" sz="2000" dirty="0"/>
              <a:t>, полученная в ходе </a:t>
            </a:r>
            <a:r>
              <a:rPr lang="ru-RU" sz="2000" dirty="0" smtClean="0"/>
              <a:t>консультаций, </a:t>
            </a:r>
            <a:r>
              <a:rPr lang="ru-RU" sz="2000" b="1" dirty="0">
                <a:solidFill>
                  <a:srgbClr val="C00000"/>
                </a:solidFill>
              </a:rPr>
              <a:t>будет включена в модель SD</a:t>
            </a:r>
            <a:r>
              <a:rPr lang="ru-RU" sz="2000" dirty="0"/>
              <a:t>. </a:t>
            </a:r>
            <a:endParaRPr lang="ru-RU" sz="2000" dirty="0" smtClean="0"/>
          </a:p>
          <a:p>
            <a:pPr>
              <a:buFont typeface="Wingdings" pitchFamily="2" charset="2"/>
              <a:buChar char="Ø"/>
            </a:pPr>
            <a:r>
              <a:rPr lang="ru-RU" sz="2000" dirty="0" smtClean="0"/>
              <a:t>Комментариев </a:t>
            </a:r>
            <a:r>
              <a:rPr lang="ru-RU" sz="2000" dirty="0"/>
              <a:t>к повествовательному отчету 5 марта, к сожалению, было очень </a:t>
            </a:r>
            <a:r>
              <a:rPr lang="ru-RU" sz="2000" dirty="0" smtClean="0"/>
              <a:t>мало.</a:t>
            </a:r>
          </a:p>
          <a:p>
            <a:pPr marL="0" indent="0">
              <a:buNone/>
            </a:pPr>
            <a:r>
              <a:rPr lang="ru-RU" sz="2000" dirty="0" smtClean="0"/>
              <a:t>Й. </a:t>
            </a:r>
            <a:r>
              <a:rPr lang="ru-RU" sz="2000" dirty="0" err="1" smtClean="0"/>
              <a:t>Шуманн</a:t>
            </a:r>
            <a:r>
              <a:rPr lang="ru-RU" sz="2000" dirty="0" smtClean="0"/>
              <a:t> подтвердил, что результаты опроса</a:t>
            </a:r>
            <a:r>
              <a:rPr lang="ru-RU" sz="2000" dirty="0"/>
              <a:t>, которые проводила </a:t>
            </a:r>
            <a:r>
              <a:rPr lang="ru-RU" sz="2000" dirty="0" smtClean="0"/>
              <a:t>«Зеленая академия», </a:t>
            </a:r>
            <a:r>
              <a:rPr lang="ru-RU" sz="2000" dirty="0"/>
              <a:t>не были готовы во время подготовки </a:t>
            </a:r>
            <a:r>
              <a:rPr lang="en-US" sz="2000" dirty="0"/>
              <a:t>Narrative Report</a:t>
            </a:r>
            <a:r>
              <a:rPr lang="ru-RU" sz="2000" dirty="0"/>
              <a:t>. Они </a:t>
            </a:r>
            <a:r>
              <a:rPr lang="ru-RU" sz="2000" dirty="0" smtClean="0"/>
              <a:t>будут внимательно изучены </a:t>
            </a:r>
            <a:r>
              <a:rPr lang="ru-RU" sz="2000" dirty="0"/>
              <a:t>и учтены вместе с критическими замечаниями и предложениями </a:t>
            </a:r>
            <a:r>
              <a:rPr lang="ru-RU" sz="2000" dirty="0" err="1"/>
              <a:t>стейкхолдеров</a:t>
            </a:r>
            <a:r>
              <a:rPr lang="ru-RU" sz="2000" dirty="0"/>
              <a:t>, которые ждет руководство проекта и международный консультант</a:t>
            </a:r>
            <a:r>
              <a:rPr lang="en-US" sz="2000" dirty="0"/>
              <a:t> </a:t>
            </a:r>
            <a:r>
              <a:rPr lang="ru-RU" sz="2000" dirty="0"/>
              <a:t>проекта (</a:t>
            </a:r>
            <a:r>
              <a:rPr lang="en-US" sz="2000" dirty="0" err="1"/>
              <a:t>DIWEcon</a:t>
            </a:r>
            <a:r>
              <a:rPr lang="ru-RU" sz="2000" dirty="0" smtClean="0"/>
              <a:t>)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138606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149" y="0"/>
            <a:ext cx="8567183" cy="7207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Agricultur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r="19291" b="18544"/>
          <a:stretch/>
        </p:blipFill>
        <p:spPr>
          <a:xfrm>
            <a:off x="28847" y="764705"/>
            <a:ext cx="9144000" cy="547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2829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149" y="0"/>
            <a:ext cx="8567183" cy="7207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Building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r="20067" b="20161"/>
          <a:stretch/>
        </p:blipFill>
        <p:spPr>
          <a:xfrm>
            <a:off x="0" y="908721"/>
            <a:ext cx="9144000" cy="5544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7889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1677" r="20105" b="19650"/>
          <a:stretch/>
        </p:blipFill>
        <p:spPr>
          <a:xfrm>
            <a:off x="179512" y="908719"/>
            <a:ext cx="8856984" cy="56886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149" y="0"/>
            <a:ext cx="8567183" cy="7207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9031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149" y="0"/>
            <a:ext cx="8567183" cy="7207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ranspor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3435" r="19829" b="20781"/>
          <a:stretch/>
        </p:blipFill>
        <p:spPr>
          <a:xfrm>
            <a:off x="31071" y="836714"/>
            <a:ext cx="9141776" cy="5568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4093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2276873"/>
            <a:ext cx="7772400" cy="1362075"/>
          </a:xfrm>
        </p:spPr>
        <p:txBody>
          <a:bodyPr>
            <a:normAutofit/>
          </a:bodyPr>
          <a:lstStyle/>
          <a:p>
            <a:pPr algn="ctr"/>
            <a:r>
              <a:rPr lang="ru-RU" sz="2800" dirty="0">
                <a:solidFill>
                  <a:srgbClr val="C00000"/>
                </a:solidFill>
              </a:rPr>
              <a:t>Для чего </a:t>
            </a:r>
            <a:r>
              <a:rPr lang="ru-RU" sz="2800" dirty="0" smtClean="0">
                <a:solidFill>
                  <a:srgbClr val="C00000"/>
                </a:solidFill>
              </a:rPr>
              <a:t>нужен </a:t>
            </a:r>
            <a:r>
              <a:rPr lang="ru-RU" sz="2800" dirty="0" err="1" smtClean="0">
                <a:solidFill>
                  <a:srgbClr val="C00000"/>
                </a:solidFill>
              </a:rPr>
              <a:t>Dashboard</a:t>
            </a:r>
            <a:r>
              <a:rPr lang="ru-RU" sz="2800" dirty="0" smtClean="0">
                <a:solidFill>
                  <a:srgbClr val="C00000"/>
                </a:solidFill>
              </a:rPr>
              <a:t>?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103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323528" y="404664"/>
            <a:ext cx="8424936" cy="6192688"/>
          </a:xfrm>
        </p:spPr>
        <p:txBody>
          <a:bodyPr>
            <a:normAutofit fontScale="25000" lnSpcReduction="20000"/>
          </a:bodyPr>
          <a:lstStyle/>
          <a:p>
            <a:pPr lvl="0"/>
            <a:endParaRPr lang="ru-RU" sz="1500" dirty="0">
              <a:solidFill>
                <a:prstClr val="black"/>
              </a:solidFill>
            </a:endParaRPr>
          </a:p>
          <a:p>
            <a:pPr marL="0" lvl="0" indent="0">
              <a:buNone/>
            </a:pPr>
            <a:r>
              <a:rPr lang="ru-RU" sz="6400" b="1" dirty="0" smtClean="0">
                <a:solidFill>
                  <a:srgbClr val="C00000"/>
                </a:solidFill>
              </a:rPr>
              <a:t>1. </a:t>
            </a:r>
            <a:r>
              <a:rPr lang="de-DE" sz="7200" b="1" dirty="0" smtClean="0">
                <a:solidFill>
                  <a:srgbClr val="C00000"/>
                </a:solidFill>
              </a:rPr>
              <a:t>Dashboard</a:t>
            </a:r>
            <a:r>
              <a:rPr lang="ru-RU" sz="7200" dirty="0" smtClean="0">
                <a:solidFill>
                  <a:srgbClr val="C00000"/>
                </a:solidFill>
              </a:rPr>
              <a:t> </a:t>
            </a:r>
            <a:r>
              <a:rPr lang="ru-RU" sz="7200" dirty="0">
                <a:solidFill>
                  <a:prstClr val="black"/>
                </a:solidFill>
              </a:rPr>
              <a:t>– это </a:t>
            </a:r>
            <a:r>
              <a:rPr lang="ru-RU" sz="7200" dirty="0" smtClean="0">
                <a:solidFill>
                  <a:prstClr val="black"/>
                </a:solidFill>
              </a:rPr>
              <a:t>интерактивная информационная панель  </a:t>
            </a:r>
            <a:r>
              <a:rPr lang="ru-RU" sz="7200" b="1" dirty="0" smtClean="0">
                <a:solidFill>
                  <a:srgbClr val="C00000"/>
                </a:solidFill>
              </a:rPr>
              <a:t>предназначенная ДЛЯ ВИЗУАЛЬНОГО ОТСЛЕЖИВАНИЯ ПРОГРЕССА РЕАЛИЗАЦИИ СНУР</a:t>
            </a:r>
            <a:r>
              <a:rPr lang="ru-RU" sz="7200" dirty="0" smtClean="0"/>
              <a:t>, которая будет </a:t>
            </a:r>
            <a:r>
              <a:rPr lang="ru-RU" sz="7200" dirty="0" smtClean="0">
                <a:solidFill>
                  <a:prstClr val="black"/>
                </a:solidFill>
              </a:rPr>
              <a:t>находиться в открытом доступе в </a:t>
            </a:r>
            <a:r>
              <a:rPr lang="ru-RU" sz="7200" dirty="0">
                <a:solidFill>
                  <a:prstClr val="black"/>
                </a:solidFill>
              </a:rPr>
              <a:t>интернете</a:t>
            </a:r>
            <a:r>
              <a:rPr lang="ru-RU" sz="7200" dirty="0" smtClean="0">
                <a:solidFill>
                  <a:prstClr val="black"/>
                </a:solidFill>
              </a:rPr>
              <a:t>.</a:t>
            </a:r>
          </a:p>
          <a:p>
            <a:pPr lvl="0">
              <a:buFont typeface="Wingdings" pitchFamily="2" charset="2"/>
              <a:buChar char="Ø"/>
            </a:pPr>
            <a:r>
              <a:rPr lang="en-US" sz="7200" dirty="0" smtClean="0">
                <a:solidFill>
                  <a:prstClr val="black"/>
                </a:solidFill>
              </a:rPr>
              <a:t>Dashboard</a:t>
            </a:r>
            <a:r>
              <a:rPr lang="ru-RU" sz="7200" dirty="0" smtClean="0">
                <a:solidFill>
                  <a:prstClr val="black"/>
                </a:solidFill>
              </a:rPr>
              <a:t> позволит видеть насколько Казахстан успешно движется по</a:t>
            </a:r>
            <a:r>
              <a:rPr lang="ru-RU" sz="7200" b="1" dirty="0" smtClean="0">
                <a:solidFill>
                  <a:srgbClr val="0070C0"/>
                </a:solidFill>
              </a:rPr>
              <a:t> </a:t>
            </a:r>
            <a:r>
              <a:rPr lang="ru-RU" sz="7200" b="1" dirty="0" smtClean="0">
                <a:solidFill>
                  <a:srgbClr val="C00000"/>
                </a:solidFill>
              </a:rPr>
              <a:t>выбранному пути трансформации  экономики к намеченным целям</a:t>
            </a:r>
            <a:r>
              <a:rPr lang="ru-RU" sz="7200" dirty="0" smtClean="0">
                <a:solidFill>
                  <a:srgbClr val="C00000"/>
                </a:solidFill>
              </a:rPr>
              <a:t>.</a:t>
            </a:r>
          </a:p>
          <a:p>
            <a:pPr>
              <a:buFont typeface="Wingdings" pitchFamily="2" charset="2"/>
              <a:buChar char="Ø"/>
            </a:pPr>
            <a:r>
              <a:rPr lang="ru-RU" sz="7200" dirty="0" smtClean="0">
                <a:solidFill>
                  <a:prstClr val="black"/>
                </a:solidFill>
              </a:rPr>
              <a:t>Мониторинг </a:t>
            </a:r>
            <a:r>
              <a:rPr lang="en-US" sz="7200" dirty="0" smtClean="0">
                <a:solidFill>
                  <a:prstClr val="black"/>
                </a:solidFill>
              </a:rPr>
              <a:t>KPI</a:t>
            </a:r>
            <a:r>
              <a:rPr lang="ru-RU" sz="7200" dirty="0" smtClean="0">
                <a:solidFill>
                  <a:prstClr val="black"/>
                </a:solidFill>
              </a:rPr>
              <a:t> </a:t>
            </a:r>
            <a:r>
              <a:rPr lang="ru-RU" sz="7200" dirty="0">
                <a:solidFill>
                  <a:prstClr val="black"/>
                </a:solidFill>
              </a:rPr>
              <a:t>позволит своевременно </a:t>
            </a:r>
            <a:r>
              <a:rPr lang="ru-RU" sz="7200" dirty="0" smtClean="0">
                <a:solidFill>
                  <a:prstClr val="black"/>
                </a:solidFill>
              </a:rPr>
              <a:t>обнаруживать отклонения от целевых значений, искать и выявлять </a:t>
            </a:r>
            <a:r>
              <a:rPr lang="ru-RU" sz="7200" dirty="0">
                <a:solidFill>
                  <a:prstClr val="black"/>
                </a:solidFill>
              </a:rPr>
              <a:t>непредвиденные </a:t>
            </a:r>
            <a:r>
              <a:rPr lang="ru-RU" sz="7200" dirty="0" smtClean="0">
                <a:solidFill>
                  <a:prstClr val="black"/>
                </a:solidFill>
              </a:rPr>
              <a:t>барьеры, вырабатывать </a:t>
            </a:r>
            <a:r>
              <a:rPr lang="ru-RU" sz="7200" dirty="0">
                <a:solidFill>
                  <a:prstClr val="black"/>
                </a:solidFill>
              </a:rPr>
              <a:t>в </a:t>
            </a:r>
            <a:r>
              <a:rPr lang="ru-RU" sz="7200" dirty="0" smtClean="0">
                <a:solidFill>
                  <a:prstClr val="black"/>
                </a:solidFill>
              </a:rPr>
              <a:t>ответ скорректированные </a:t>
            </a:r>
            <a:r>
              <a:rPr lang="ru-RU" sz="7200" dirty="0">
                <a:solidFill>
                  <a:prstClr val="black"/>
                </a:solidFill>
              </a:rPr>
              <a:t>политические </a:t>
            </a:r>
            <a:r>
              <a:rPr lang="ru-RU" sz="7200" dirty="0" smtClean="0">
                <a:solidFill>
                  <a:prstClr val="black"/>
                </a:solidFill>
              </a:rPr>
              <a:t>решения.</a:t>
            </a:r>
            <a:endParaRPr lang="ru-RU" sz="7200" dirty="0">
              <a:solidFill>
                <a:prstClr val="black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ru-RU" sz="7200" dirty="0" smtClean="0">
                <a:solidFill>
                  <a:prstClr val="black"/>
                </a:solidFill>
              </a:rPr>
              <a:t>Наличие </a:t>
            </a:r>
            <a:r>
              <a:rPr lang="de-DE" sz="7200" b="1" dirty="0">
                <a:solidFill>
                  <a:srgbClr val="C00000"/>
                </a:solidFill>
              </a:rPr>
              <a:t>Dashboard</a:t>
            </a:r>
            <a:r>
              <a:rPr lang="de-DE" sz="7200" b="1" dirty="0">
                <a:solidFill>
                  <a:srgbClr val="0070C0"/>
                </a:solidFill>
              </a:rPr>
              <a:t> </a:t>
            </a:r>
            <a:r>
              <a:rPr lang="ru-RU" sz="7200" dirty="0" smtClean="0">
                <a:solidFill>
                  <a:prstClr val="black"/>
                </a:solidFill>
              </a:rPr>
              <a:t>позволит </a:t>
            </a:r>
            <a:r>
              <a:rPr lang="ru-RU" sz="7200" dirty="0">
                <a:solidFill>
                  <a:prstClr val="black"/>
                </a:solidFill>
              </a:rPr>
              <a:t>готовить </a:t>
            </a:r>
            <a:r>
              <a:rPr lang="ru-RU" sz="7200" dirty="0" err="1" smtClean="0">
                <a:solidFill>
                  <a:prstClr val="black"/>
                </a:solidFill>
              </a:rPr>
              <a:t>страновой</a:t>
            </a:r>
            <a:r>
              <a:rPr lang="ru-RU" sz="7200" dirty="0" smtClean="0">
                <a:solidFill>
                  <a:prstClr val="black"/>
                </a:solidFill>
              </a:rPr>
              <a:t> Обзор </a:t>
            </a:r>
            <a:r>
              <a:rPr lang="ru-RU" sz="7200" dirty="0">
                <a:solidFill>
                  <a:prstClr val="black"/>
                </a:solidFill>
              </a:rPr>
              <a:t>для </a:t>
            </a:r>
            <a:r>
              <a:rPr lang="ru-RU" sz="7200" dirty="0" smtClean="0">
                <a:solidFill>
                  <a:prstClr val="black"/>
                </a:solidFill>
              </a:rPr>
              <a:t>сообщества </a:t>
            </a:r>
            <a:r>
              <a:rPr lang="ru-RU" sz="7200" dirty="0">
                <a:solidFill>
                  <a:prstClr val="black"/>
                </a:solidFill>
              </a:rPr>
              <a:t>РКИК ООН</a:t>
            </a:r>
            <a:r>
              <a:rPr lang="ru-RU" sz="7200" dirty="0" smtClean="0">
                <a:solidFill>
                  <a:prstClr val="black"/>
                </a:solidFill>
              </a:rPr>
              <a:t>. </a:t>
            </a:r>
            <a:endParaRPr lang="en-US" sz="7200" dirty="0">
              <a:solidFill>
                <a:prstClr val="black"/>
              </a:solidFill>
            </a:endParaRPr>
          </a:p>
          <a:p>
            <a:pPr marL="0" lvl="0" indent="0">
              <a:buNone/>
            </a:pPr>
            <a:endParaRPr lang="ru-RU" sz="7200" dirty="0" smtClean="0">
              <a:solidFill>
                <a:prstClr val="black"/>
              </a:solidFill>
            </a:endParaRPr>
          </a:p>
          <a:p>
            <a:pPr marL="0" lvl="0" indent="0">
              <a:buNone/>
            </a:pPr>
            <a:r>
              <a:rPr lang="ru-RU" sz="7200" dirty="0" smtClean="0">
                <a:solidFill>
                  <a:prstClr val="black"/>
                </a:solidFill>
              </a:rPr>
              <a:t>2. </a:t>
            </a:r>
            <a:r>
              <a:rPr lang="en-US" sz="7200" b="1" dirty="0" smtClean="0">
                <a:solidFill>
                  <a:srgbClr val="C00000"/>
                </a:solidFill>
              </a:rPr>
              <a:t>Dashboard </a:t>
            </a:r>
            <a:r>
              <a:rPr lang="ru-RU" sz="7200" b="1" dirty="0" smtClean="0">
                <a:solidFill>
                  <a:srgbClr val="C00000"/>
                </a:solidFill>
              </a:rPr>
              <a:t> будет также служить формированию ЕДИНОГО СТРАТЕГИЧЕСКОГО ВИДЕНИЯ </a:t>
            </a:r>
            <a:r>
              <a:rPr lang="ru-RU" sz="7200" b="1" dirty="0">
                <a:solidFill>
                  <a:srgbClr val="C00000"/>
                </a:solidFill>
              </a:rPr>
              <a:t>перехода Казахстана к НУР до 2050 </a:t>
            </a:r>
            <a:r>
              <a:rPr lang="ru-RU" sz="7200" b="1" dirty="0" smtClean="0">
                <a:solidFill>
                  <a:srgbClr val="C00000"/>
                </a:solidFill>
              </a:rPr>
              <a:t>года на основе достижения </a:t>
            </a:r>
            <a:r>
              <a:rPr lang="ru-RU" sz="7200" b="1" dirty="0">
                <a:solidFill>
                  <a:srgbClr val="C00000"/>
                </a:solidFill>
              </a:rPr>
              <a:t>консенсуса </a:t>
            </a:r>
            <a:r>
              <a:rPr lang="ru-RU" sz="7200" b="1" dirty="0" smtClean="0">
                <a:solidFill>
                  <a:srgbClr val="C00000"/>
                </a:solidFill>
              </a:rPr>
              <a:t> </a:t>
            </a:r>
            <a:r>
              <a:rPr lang="ru-RU" sz="7200" b="1" dirty="0" err="1" smtClean="0">
                <a:solidFill>
                  <a:srgbClr val="C00000"/>
                </a:solidFill>
              </a:rPr>
              <a:t>стейкхолдеров</a:t>
            </a:r>
            <a:r>
              <a:rPr lang="ru-RU" sz="7200" b="1" dirty="0" smtClean="0">
                <a:solidFill>
                  <a:srgbClr val="C00000"/>
                </a:solidFill>
              </a:rPr>
              <a:t>.</a:t>
            </a:r>
          </a:p>
          <a:p>
            <a:pPr lvl="0">
              <a:buFont typeface="Wingdings" pitchFamily="2" charset="2"/>
              <a:buChar char="Ø"/>
            </a:pPr>
            <a:r>
              <a:rPr lang="ru-RU" sz="7200" dirty="0">
                <a:solidFill>
                  <a:prstClr val="black"/>
                </a:solidFill>
              </a:rPr>
              <a:t>Мониторинг </a:t>
            </a:r>
            <a:r>
              <a:rPr lang="en-US" sz="7200" dirty="0">
                <a:solidFill>
                  <a:prstClr val="black"/>
                </a:solidFill>
              </a:rPr>
              <a:t>KPI</a:t>
            </a:r>
            <a:r>
              <a:rPr lang="ru-RU" sz="7200" dirty="0">
                <a:solidFill>
                  <a:prstClr val="black"/>
                </a:solidFill>
              </a:rPr>
              <a:t> позволит обществу отслеживать как меняются показатели СНУР. Пользователи смогут просматривать динамику выбранного KPI до 2050 года по каждому из сценариев развития СНУР, «кликая» на соответствующие опции.</a:t>
            </a:r>
          </a:p>
          <a:p>
            <a:pPr lvl="0">
              <a:buFont typeface="Wingdings" pitchFamily="2" charset="2"/>
              <a:buChar char="Ø"/>
            </a:pPr>
            <a:r>
              <a:rPr lang="ru-RU" sz="7200" dirty="0">
                <a:solidFill>
                  <a:prstClr val="black"/>
                </a:solidFill>
              </a:rPr>
              <a:t>Правительство РК, используя </a:t>
            </a:r>
            <a:r>
              <a:rPr lang="en-US" sz="7200" dirty="0">
                <a:solidFill>
                  <a:prstClr val="black"/>
                </a:solidFill>
              </a:rPr>
              <a:t>Dashboard</a:t>
            </a:r>
            <a:r>
              <a:rPr lang="ru-RU" sz="7200" dirty="0">
                <a:solidFill>
                  <a:prstClr val="black"/>
                </a:solidFill>
              </a:rPr>
              <a:t>,</a:t>
            </a:r>
            <a:r>
              <a:rPr lang="en-US" sz="7200" dirty="0">
                <a:solidFill>
                  <a:prstClr val="black"/>
                </a:solidFill>
              </a:rPr>
              <a:t> </a:t>
            </a:r>
            <a:r>
              <a:rPr lang="ru-RU" sz="7200" dirty="0">
                <a:solidFill>
                  <a:prstClr val="black"/>
                </a:solidFill>
              </a:rPr>
              <a:t>может готовить регулярный общедоступный стандартизированный доклад для повышения прозрачности национальной политики по борьбе с изменением климата.</a:t>
            </a:r>
          </a:p>
          <a:p>
            <a:pPr lvl="0">
              <a:buFont typeface="Wingdings" pitchFamily="2" charset="2"/>
              <a:buChar char="Ø"/>
            </a:pPr>
            <a:r>
              <a:rPr lang="ru-RU" sz="7200" dirty="0">
                <a:solidFill>
                  <a:prstClr val="black"/>
                </a:solidFill>
              </a:rPr>
              <a:t>Эти публичные доклады будут напоминать обществу о твердости климатической политики Правительства РК, чтобы мотивировать бизнес и домохозяйства инвестировать в </a:t>
            </a:r>
            <a:r>
              <a:rPr lang="ru-RU" sz="7200" dirty="0" err="1">
                <a:solidFill>
                  <a:prstClr val="black"/>
                </a:solidFill>
              </a:rPr>
              <a:t>низкоуглеродные</a:t>
            </a:r>
            <a:r>
              <a:rPr lang="ru-RU" sz="7200" dirty="0">
                <a:solidFill>
                  <a:prstClr val="black"/>
                </a:solidFill>
              </a:rPr>
              <a:t> технологии.</a:t>
            </a:r>
          </a:p>
        </p:txBody>
      </p:sp>
    </p:spTree>
    <p:extLst>
      <p:ext uri="{BB962C8B-B14F-4D97-AF65-F5344CB8AC3E}">
        <p14:creationId xmlns:p14="http://schemas.microsoft.com/office/powerpoint/2010/main" val="2532024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490067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Дизайн </a:t>
            </a:r>
            <a:r>
              <a:rPr lang="en-US" sz="2400" b="1" dirty="0" smtClean="0">
                <a:solidFill>
                  <a:srgbClr val="C00000"/>
                </a:solidFill>
              </a:rPr>
              <a:t>Dashboard </a:t>
            </a:r>
            <a:r>
              <a:rPr lang="ru-RU" sz="2400" b="1" dirty="0" smtClean="0">
                <a:solidFill>
                  <a:srgbClr val="C00000"/>
                </a:solidFill>
              </a:rPr>
              <a:t>будет выглядеть примерно так</a:t>
            </a:r>
            <a:endParaRPr lang="ru-RU" sz="2400" b="1" dirty="0">
              <a:solidFill>
                <a:srgbClr val="C00000"/>
              </a:solidFill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836712"/>
            <a:ext cx="6408712" cy="2607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">
            <a:extLst>
              <a:ext uri="{FF2B5EF4-FFF2-40B4-BE49-F238E27FC236}">
                <a16:creationId xmlns:a16="http://schemas.microsoft.com/office/drawing/2014/main" xmlns="" id="{FFEF3E83-7B59-4D85-A8D0-EDFEE9A6CD2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63" t="20534" r="1389" b="8355"/>
          <a:stretch/>
        </p:blipFill>
        <p:spPr>
          <a:xfrm>
            <a:off x="2051720" y="3591535"/>
            <a:ext cx="6878494" cy="2823444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536431" y="4560757"/>
            <a:ext cx="13681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или так</a:t>
            </a:r>
            <a:endParaRPr lang="ru-RU" sz="2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996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634083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9 </a:t>
            </a:r>
            <a:r>
              <a:rPr lang="en-US" sz="2400" b="1" dirty="0" smtClean="0">
                <a:solidFill>
                  <a:srgbClr val="C00000"/>
                </a:solidFill>
              </a:rPr>
              <a:t>KPI</a:t>
            </a:r>
            <a:r>
              <a:rPr lang="ru-RU" sz="2400" b="1" dirty="0" smtClean="0">
                <a:solidFill>
                  <a:srgbClr val="C00000"/>
                </a:solidFill>
              </a:rPr>
              <a:t> для </a:t>
            </a:r>
            <a:r>
              <a:rPr lang="ru-RU" sz="2400" b="1" dirty="0" err="1" smtClean="0">
                <a:solidFill>
                  <a:srgbClr val="C00000"/>
                </a:solidFill>
              </a:rPr>
              <a:t>Dashboard</a:t>
            </a:r>
            <a:r>
              <a:rPr lang="ru-RU" sz="2400" b="1" dirty="0" smtClean="0">
                <a:solidFill>
                  <a:srgbClr val="C00000"/>
                </a:solidFill>
              </a:rPr>
              <a:t> уже отобраны</a:t>
            </a:r>
            <a:endParaRPr lang="ru-RU" sz="2800" b="1" dirty="0">
              <a:solidFill>
                <a:srgbClr val="C00000"/>
              </a:solidFill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30553051"/>
              </p:ext>
            </p:extLst>
          </p:nvPr>
        </p:nvGraphicFramePr>
        <p:xfrm>
          <a:off x="467544" y="1052739"/>
          <a:ext cx="8229600" cy="5348061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42392"/>
                <a:gridCol w="1152128"/>
                <a:gridCol w="6635080"/>
              </a:tblGrid>
              <a:tr h="1044297"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rgbClr val="C00000"/>
                          </a:solidFill>
                        </a:rPr>
                        <a:t>№</a:t>
                      </a:r>
                      <a:r>
                        <a:rPr lang="ru-RU" sz="1500" baseline="0" dirty="0" smtClean="0">
                          <a:solidFill>
                            <a:srgbClr val="C00000"/>
                          </a:solidFill>
                        </a:rPr>
                        <a:t> п</a:t>
                      </a:r>
                      <a:r>
                        <a:rPr lang="en-US" sz="1500" baseline="0" dirty="0" smtClean="0">
                          <a:solidFill>
                            <a:srgbClr val="C00000"/>
                          </a:solidFill>
                        </a:rPr>
                        <a:t>/</a:t>
                      </a:r>
                      <a:r>
                        <a:rPr lang="ru-RU" sz="1500" baseline="0" dirty="0" smtClean="0">
                          <a:solidFill>
                            <a:srgbClr val="C00000"/>
                          </a:solidFill>
                        </a:rPr>
                        <a:t>п</a:t>
                      </a:r>
                      <a:endParaRPr lang="ru-RU" sz="15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rgbClr val="C00000"/>
                          </a:solidFill>
                        </a:rPr>
                        <a:t>Источник значений </a:t>
                      </a:r>
                      <a:r>
                        <a:rPr lang="en-US" sz="1500" dirty="0" smtClean="0">
                          <a:solidFill>
                            <a:srgbClr val="C00000"/>
                          </a:solidFill>
                        </a:rPr>
                        <a:t>KPI</a:t>
                      </a:r>
                    </a:p>
                    <a:p>
                      <a:pPr algn="ctr"/>
                      <a:endParaRPr lang="ru-RU" sz="15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C00000"/>
                          </a:solidFill>
                        </a:rPr>
                        <a:t>Наименование </a:t>
                      </a:r>
                      <a:r>
                        <a:rPr lang="en-US" sz="1600" dirty="0" smtClean="0">
                          <a:solidFill>
                            <a:srgbClr val="C00000"/>
                          </a:solidFill>
                        </a:rPr>
                        <a:t>KPI</a:t>
                      </a:r>
                      <a:r>
                        <a:rPr lang="ru-RU" sz="1600" dirty="0" smtClean="0">
                          <a:solidFill>
                            <a:srgbClr val="C00000"/>
                          </a:solidFill>
                        </a:rPr>
                        <a:t>, единица измерения</a:t>
                      </a:r>
                      <a:endParaRPr lang="en-US" sz="1600" dirty="0" smtClean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501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1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algn="ctr"/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TIM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Объемы выбросов основных ПГ (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CO2,</a:t>
                      </a:r>
                      <a:r>
                        <a:rPr lang="en-US" sz="1200" baseline="0" dirty="0" smtClean="0">
                          <a:solidFill>
                            <a:srgbClr val="C00000"/>
                          </a:solidFill>
                        </a:rPr>
                        <a:t> CH4, N2O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) в разбивкой</a:t>
                      </a:r>
                      <a:r>
                        <a:rPr lang="ru-RU" sz="1200" baseline="0" dirty="0" smtClean="0">
                          <a:solidFill>
                            <a:srgbClr val="C00000"/>
                          </a:solidFill>
                        </a:rPr>
                        <a:t> по 8 секторам-источникам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KtCO2eq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01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2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Конечное потребление  энергоресурсов в Казахстане с разбивкой по 14 видам ТЭР,</a:t>
                      </a:r>
                      <a:r>
                        <a:rPr lang="ru-RU" sz="1200" baseline="0" dirty="0" smtClean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rgbClr val="C00000"/>
                          </a:solidFill>
                        </a:rPr>
                        <a:t>ktoe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01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3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Выработка электроэнергии по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9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видам используемого первичного ТЭР, </a:t>
                      </a:r>
                      <a:r>
                        <a:rPr lang="en-US" sz="1200" dirty="0" err="1" smtClean="0">
                          <a:solidFill>
                            <a:srgbClr val="C00000"/>
                          </a:solidFill>
                        </a:rPr>
                        <a:t>TWh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01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4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CGE</a:t>
                      </a: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algn="ctr"/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Темп роста ВВП относительно предыдущего года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Index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01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5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Объемы инвестиций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million USD 2017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68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6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Расходы домохозяйств по типам (4 типа домохозяйств: городские бедные, городские богатые, сельские бедные и сельские богаты)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USD 2017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01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7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SD</a:t>
                      </a:r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pPr algn="ctr"/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2 индикатора по аграрному сектору:  Добавленная продукция  и Климатический ущерб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USD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4424">
                <a:tc>
                  <a:txBody>
                    <a:bodyPr/>
                    <a:lstStyle/>
                    <a:p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8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8 индикаторов  по угледобывающему сектору,</a:t>
                      </a:r>
                      <a:r>
                        <a:rPr lang="ru-RU" sz="1200" baseline="0" dirty="0" smtClean="0">
                          <a:solidFill>
                            <a:srgbClr val="C00000"/>
                          </a:solidFill>
                        </a:rPr>
                        <a:t> в том числе 7 удельных в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USD/TJ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 (Цена на уголь, Дотация, Стоимость модернизации завода, Стоимость обработки угля (золы), Стоимость соблюдение природоохранного законодательства, Стоимость здравоохранения, Создание доходов) и  Среднегодовое количество</a:t>
                      </a:r>
                      <a:r>
                        <a:rPr lang="ru-RU" sz="1200" baseline="0" dirty="0" smtClean="0">
                          <a:solidFill>
                            <a:srgbClr val="C00000"/>
                          </a:solidFill>
                        </a:rPr>
                        <a:t> занятых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 в секторе, тыс. чел.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4552">
                <a:tc>
                  <a:txBody>
                    <a:bodyPr/>
                    <a:lstStyle/>
                    <a:p>
                      <a:endParaRPr lang="ru-RU" sz="1200" dirty="0" smtClean="0">
                        <a:solidFill>
                          <a:srgbClr val="C00000"/>
                        </a:solidFill>
                      </a:endParaRPr>
                    </a:p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9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7 индикаторов по автотранспорту (Капитальные затраты, Операционные затраты, Расход энергии (импорт), Стоимость потери времени в заторах, Стоимость здоровья (несчастные случаи), Стоимость здоровья (качество воздуха), Стоимость загрязняющих выбросов ),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Million USD/Year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0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435280" cy="504056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</a:rPr>
              <a:t>О проекте, в рамках которого разрабатывается СНУР</a:t>
            </a:r>
            <a:endParaRPr lang="ru-RU" sz="2800" b="1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836712"/>
            <a:ext cx="8229600" cy="5904656"/>
          </a:xfrm>
        </p:spPr>
        <p:txBody>
          <a:bodyPr>
            <a:normAutofit fontScale="62500" lnSpcReduction="20000"/>
          </a:bodyPr>
          <a:lstStyle/>
          <a:p>
            <a:pPr lvl="0" algn="just">
              <a:lnSpc>
                <a:spcPct val="12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2900" b="1" dirty="0" smtClean="0">
                <a:solidFill>
                  <a:prstClr val="black"/>
                </a:solidFill>
              </a:rPr>
              <a:t>Наименование проекта и донор: </a:t>
            </a:r>
            <a:r>
              <a:rPr lang="ru-RU" sz="2900" dirty="0" smtClean="0"/>
              <a:t>проект </a:t>
            </a:r>
            <a:r>
              <a:rPr lang="ru-RU" sz="2900" b="1" dirty="0" smtClean="0">
                <a:solidFill>
                  <a:srgbClr val="C00000"/>
                </a:solidFill>
              </a:rPr>
              <a:t>GIZ</a:t>
            </a:r>
            <a:r>
              <a:rPr lang="ru-RU" sz="2900" dirty="0" smtClean="0"/>
              <a:t> «</a:t>
            </a:r>
            <a:r>
              <a:rPr lang="ru-RU" sz="2900" dirty="0"/>
              <a:t>Поддержка «зелёной экономики» в Казахстане и Центральной Азии для </a:t>
            </a:r>
            <a:r>
              <a:rPr lang="ru-RU" sz="2900" dirty="0" err="1"/>
              <a:t>низкоуглеродного</a:t>
            </a:r>
            <a:r>
              <a:rPr lang="ru-RU" sz="2900" dirty="0"/>
              <a:t> экономического развития</a:t>
            </a:r>
            <a:r>
              <a:rPr lang="ru-RU" sz="2900" dirty="0" smtClean="0"/>
              <a:t>», </a:t>
            </a:r>
            <a:r>
              <a:rPr lang="ru-RU" sz="2900" dirty="0" smtClean="0">
                <a:solidFill>
                  <a:prstClr val="black"/>
                </a:solidFill>
              </a:rPr>
              <a:t>финансируемый </a:t>
            </a:r>
            <a:r>
              <a:rPr lang="ru-RU" sz="2900" dirty="0">
                <a:solidFill>
                  <a:prstClr val="black"/>
                </a:solidFill>
              </a:rPr>
              <a:t>Федеральным министерством окружающей среды, охраны природы и безопасности ядерных реакторов (BMU) в рамках </a:t>
            </a:r>
            <a:r>
              <a:rPr lang="ru-RU" sz="2900" b="1" dirty="0">
                <a:solidFill>
                  <a:srgbClr val="C00000"/>
                </a:solidFill>
              </a:rPr>
              <a:t>Германской инициативы по климату (IKI</a:t>
            </a:r>
            <a:r>
              <a:rPr lang="ru-RU" sz="2900" b="1" dirty="0" smtClean="0">
                <a:solidFill>
                  <a:srgbClr val="C00000"/>
                </a:solidFill>
              </a:rPr>
              <a:t>).</a:t>
            </a:r>
            <a:endParaRPr lang="ru-RU" sz="2900" b="1" dirty="0">
              <a:solidFill>
                <a:srgbClr val="C00000"/>
              </a:solidFill>
            </a:endParaRPr>
          </a:p>
          <a:p>
            <a:pPr lvl="0" algn="just">
              <a:lnSpc>
                <a:spcPct val="12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2900" b="1" dirty="0"/>
              <a:t>Цель </a:t>
            </a:r>
            <a:r>
              <a:rPr lang="ru-RU" sz="2900" b="1" dirty="0" smtClean="0"/>
              <a:t>проекта:</a:t>
            </a:r>
            <a:r>
              <a:rPr lang="ru-RU" sz="2900" dirty="0" smtClean="0">
                <a:solidFill>
                  <a:prstClr val="black"/>
                </a:solidFill>
              </a:rPr>
              <a:t> </a:t>
            </a:r>
            <a:r>
              <a:rPr lang="ru-RU" sz="2900" dirty="0">
                <a:solidFill>
                  <a:prstClr val="black"/>
                </a:solidFill>
              </a:rPr>
              <a:t>оказать поддержку Правительству РК </a:t>
            </a:r>
            <a:r>
              <a:rPr lang="ru-RU" sz="2900" b="1" dirty="0">
                <a:solidFill>
                  <a:srgbClr val="C00000"/>
                </a:solidFill>
              </a:rPr>
              <a:t>в создании институционального и технического потенциала</a:t>
            </a:r>
            <a:r>
              <a:rPr lang="ru-RU" sz="2900" dirty="0">
                <a:solidFill>
                  <a:prstClr val="black"/>
                </a:solidFill>
              </a:rPr>
              <a:t>, необходимого для реализации Концепции по переходу к «зеленой экономике». </a:t>
            </a:r>
          </a:p>
          <a:p>
            <a:pPr algn="just">
              <a:lnSpc>
                <a:spcPct val="120000"/>
              </a:lnSpc>
              <a:spcBef>
                <a:spcPts val="600"/>
              </a:spcBef>
            </a:pPr>
            <a:r>
              <a:rPr lang="ru-RU" sz="2900" b="1" dirty="0" smtClean="0"/>
              <a:t>Руководитель </a:t>
            </a:r>
            <a:r>
              <a:rPr lang="ru-RU" sz="2900" b="1" dirty="0"/>
              <a:t>проекта:     </a:t>
            </a:r>
            <a:r>
              <a:rPr lang="ru-RU" sz="2900" dirty="0"/>
              <a:t> </a:t>
            </a:r>
            <a:r>
              <a:rPr lang="ru-RU" sz="2900" dirty="0" err="1"/>
              <a:t>Йоханнес</a:t>
            </a:r>
            <a:r>
              <a:rPr lang="ru-RU" sz="2900" dirty="0"/>
              <a:t> </a:t>
            </a:r>
            <a:r>
              <a:rPr lang="ru-RU" sz="2900" dirty="0" err="1"/>
              <a:t>Шуманн</a:t>
            </a:r>
            <a:endParaRPr lang="ru-RU" sz="2900" dirty="0"/>
          </a:p>
          <a:p>
            <a:pPr algn="just">
              <a:lnSpc>
                <a:spcPct val="120000"/>
              </a:lnSpc>
              <a:spcBef>
                <a:spcPts val="600"/>
              </a:spcBef>
            </a:pPr>
            <a:r>
              <a:rPr lang="ru-RU" sz="2900" b="1" dirty="0" smtClean="0"/>
              <a:t>Международный </a:t>
            </a:r>
            <a:r>
              <a:rPr lang="ru-RU" sz="2900" b="1" dirty="0"/>
              <a:t>консультант проекта:</a:t>
            </a:r>
            <a:r>
              <a:rPr lang="ru-RU" sz="2900" dirty="0"/>
              <a:t> </a:t>
            </a:r>
            <a:r>
              <a:rPr lang="ru-RU" sz="2900" b="1" dirty="0">
                <a:solidFill>
                  <a:srgbClr val="C00000"/>
                </a:solidFill>
              </a:rPr>
              <a:t>консорциум</a:t>
            </a:r>
            <a:r>
              <a:rPr lang="ru-RU" sz="2900" dirty="0"/>
              <a:t>, сформированный германской консалтинговой компанией</a:t>
            </a:r>
            <a:r>
              <a:rPr lang="en-US" sz="2900" dirty="0"/>
              <a:t> DIW Econ c </a:t>
            </a:r>
            <a:r>
              <a:rPr lang="ru-RU" sz="2900" dirty="0"/>
              <a:t>участием </a:t>
            </a:r>
            <a:r>
              <a:rPr lang="ru-RU" sz="2900" dirty="0" smtClean="0"/>
              <a:t>моделистов итальянской компании </a:t>
            </a:r>
            <a:r>
              <a:rPr lang="en-US" sz="2900" dirty="0" smtClean="0"/>
              <a:t>E4SMA</a:t>
            </a:r>
            <a:r>
              <a:rPr lang="ru-RU" sz="2900" dirty="0" smtClean="0"/>
              <a:t> </a:t>
            </a:r>
            <a:r>
              <a:rPr lang="ru-RU" sz="2900" dirty="0"/>
              <a:t>и </a:t>
            </a:r>
            <a:r>
              <a:rPr lang="ru-RU" sz="2900" dirty="0" smtClean="0"/>
              <a:t>швейцарской компании </a:t>
            </a:r>
            <a:r>
              <a:rPr lang="de-DE" sz="2900" dirty="0" err="1" smtClean="0"/>
              <a:t>KnowlEdge</a:t>
            </a:r>
            <a:r>
              <a:rPr lang="ru-RU" sz="2900" dirty="0"/>
              <a:t>. </a:t>
            </a:r>
            <a:endParaRPr lang="ru-RU" sz="2900" dirty="0" smtClean="0"/>
          </a:p>
          <a:p>
            <a:pPr algn="just">
              <a:lnSpc>
                <a:spcPct val="120000"/>
              </a:lnSpc>
              <a:spcBef>
                <a:spcPts val="600"/>
              </a:spcBef>
            </a:pPr>
            <a:r>
              <a:rPr lang="ru-RU" sz="2800" b="1" dirty="0"/>
              <a:t>Партнеры проекта:</a:t>
            </a:r>
            <a:r>
              <a:rPr lang="ru-RU" sz="2800" dirty="0"/>
              <a:t> АО «</a:t>
            </a:r>
            <a:r>
              <a:rPr lang="ru-RU" sz="2800" dirty="0" err="1"/>
              <a:t>Жасыл</a:t>
            </a:r>
            <a:r>
              <a:rPr lang="ru-RU" sz="2800" dirty="0"/>
              <a:t> даму» (МЭГПР РК) и АО «Институт экономических исследований» (МНЭ РК</a:t>
            </a:r>
            <a:r>
              <a:rPr lang="ru-RU" sz="2800" dirty="0" smtClean="0"/>
              <a:t>)</a:t>
            </a:r>
          </a:p>
          <a:p>
            <a:pPr algn="just">
              <a:lnSpc>
                <a:spcPct val="120000"/>
              </a:lnSpc>
              <a:spcBef>
                <a:spcPts val="600"/>
              </a:spcBef>
            </a:pPr>
            <a:r>
              <a:rPr lang="ru-RU" sz="2800" b="1" dirty="0">
                <a:solidFill>
                  <a:srgbClr val="C00000"/>
                </a:solidFill>
              </a:rPr>
              <a:t>Донор заинтересован в устойчивости результатов проекта</a:t>
            </a:r>
            <a:r>
              <a:rPr lang="ru-RU" sz="2800" dirty="0">
                <a:solidFill>
                  <a:srgbClr val="C00000"/>
                </a:solidFill>
              </a:rPr>
              <a:t>.</a:t>
            </a:r>
          </a:p>
          <a:p>
            <a:pPr algn="just">
              <a:lnSpc>
                <a:spcPct val="120000"/>
              </a:lnSpc>
              <a:spcBef>
                <a:spcPts val="600"/>
              </a:spcBef>
            </a:pPr>
            <a:r>
              <a:rPr lang="ru-RU" sz="2800" b="1" dirty="0">
                <a:solidFill>
                  <a:srgbClr val="C00000"/>
                </a:solidFill>
              </a:rPr>
              <a:t>Разработка СНУР осуществляется с учетом наилучших международных практик</a:t>
            </a:r>
            <a:r>
              <a:rPr lang="ru-RU" sz="2800" dirty="0">
                <a:solidFill>
                  <a:srgbClr val="C00000"/>
                </a:solidFill>
              </a:rPr>
              <a:t>. </a:t>
            </a:r>
            <a:r>
              <a:rPr lang="ru-RU" sz="2800" dirty="0"/>
              <a:t>Именно поэтому тесное взаимодействовать со </a:t>
            </a:r>
            <a:r>
              <a:rPr lang="ru-RU" sz="2800" dirty="0" err="1"/>
              <a:t>стейкхолдерами</a:t>
            </a:r>
            <a:r>
              <a:rPr lang="ru-RU" sz="2800" dirty="0"/>
              <a:t> и активное их вовлечение в процесс разработки СНУР является важным и сквозным мероприятием процесса разработки СНУР</a:t>
            </a:r>
            <a:r>
              <a:rPr lang="ru-RU" sz="2800" dirty="0" smtClean="0"/>
              <a:t>.</a:t>
            </a:r>
          </a:p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673980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683568" y="2132856"/>
            <a:ext cx="7772400" cy="1584176"/>
          </a:xfrm>
        </p:spPr>
        <p:txBody>
          <a:bodyPr>
            <a:normAutofit/>
          </a:bodyPr>
          <a:lstStyle/>
          <a:p>
            <a:pPr algn="ctr"/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 smtClean="0">
                <a:solidFill>
                  <a:srgbClr val="C00000"/>
                </a:solidFill>
              </a:rPr>
              <a:t>СЦЕНАРИИ ПЕРЕХОДА К НУР</a:t>
            </a:r>
            <a:endParaRPr lang="ru-RU" sz="1800" dirty="0">
              <a:solidFill>
                <a:srgbClr val="C00000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683568" y="4293096"/>
            <a:ext cx="7772400" cy="1500187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Ожидается, что </a:t>
            </a:r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еречень и описание сценариев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после получения отклика от всех </a:t>
            </a:r>
            <a:r>
              <a:rPr lang="ru-RU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стейкхолдеров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и последующей доработки до конца мая 2020 года должны </a:t>
            </a:r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быть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утверждены Министерством экологии, геологии и природных ресурсов РК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476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778097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</a:rPr>
              <a:t>Меняются критерии инвестиционной привлекательности Казахстана</a:t>
            </a:r>
            <a:endParaRPr lang="ru-RU" sz="2400" b="1" dirty="0">
              <a:solidFill>
                <a:srgbClr val="C00000"/>
              </a:solidFill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323528" y="1124744"/>
            <a:ext cx="8496944" cy="5544616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1800" b="1" dirty="0" smtClean="0">
                <a:solidFill>
                  <a:srgbClr val="C00000"/>
                </a:solidFill>
              </a:rPr>
              <a:t>Драйвером экономического роста </a:t>
            </a:r>
            <a:r>
              <a:rPr lang="ru-RU" sz="1800" dirty="0" smtClean="0"/>
              <a:t>Казахстана последней четверти века является </a:t>
            </a:r>
            <a:r>
              <a:rPr lang="ru-RU" sz="1800" b="1" dirty="0" smtClean="0">
                <a:solidFill>
                  <a:srgbClr val="C00000"/>
                </a:solidFill>
              </a:rPr>
              <a:t>экспорт природных ресурсов</a:t>
            </a:r>
            <a:r>
              <a:rPr lang="ru-RU" sz="1800" dirty="0" smtClean="0"/>
              <a:t>, те есть участие в </a:t>
            </a:r>
            <a:r>
              <a:rPr lang="ru-RU" sz="1800" b="1" dirty="0" smtClean="0">
                <a:solidFill>
                  <a:srgbClr val="C00000"/>
                </a:solidFill>
              </a:rPr>
              <a:t>международной торговле </a:t>
            </a:r>
            <a:r>
              <a:rPr lang="ru-RU" sz="1800" dirty="0" smtClean="0"/>
              <a:t>сырьевыми и энергоемкими товарами. Приток </a:t>
            </a:r>
            <a:r>
              <a:rPr lang="ru-RU" sz="1800" b="1" dirty="0" smtClean="0">
                <a:solidFill>
                  <a:srgbClr val="C00000"/>
                </a:solidFill>
              </a:rPr>
              <a:t>ПИИ</a:t>
            </a:r>
            <a:r>
              <a:rPr lang="ru-RU" sz="1800" dirty="0" smtClean="0"/>
              <a:t> обусловлен именно </a:t>
            </a:r>
            <a:r>
              <a:rPr lang="ru-RU" sz="1800" b="1" dirty="0" smtClean="0">
                <a:solidFill>
                  <a:srgbClr val="C00000"/>
                </a:solidFill>
              </a:rPr>
              <a:t>привлекательностью природно-сырьевого сектора </a:t>
            </a:r>
            <a:r>
              <a:rPr lang="ru-RU" sz="1800" dirty="0" smtClean="0"/>
              <a:t>Казахстана.</a:t>
            </a:r>
          </a:p>
          <a:p>
            <a:pPr>
              <a:lnSpc>
                <a:spcPct val="8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1800" dirty="0" smtClean="0"/>
              <a:t>Усиление международной климатической политики может привести к тому, что </a:t>
            </a:r>
            <a:r>
              <a:rPr lang="ru-RU" sz="1800" b="1" dirty="0" smtClean="0">
                <a:solidFill>
                  <a:srgbClr val="C00000"/>
                </a:solidFill>
              </a:rPr>
              <a:t>инвестиции, вливаемые в энергоемкие и ресурсоемкие проекты очень скоро могут превратиться в</a:t>
            </a:r>
            <a:r>
              <a:rPr lang="ru-RU" sz="1800" dirty="0" smtClean="0"/>
              <a:t> неактивные </a:t>
            </a:r>
            <a:r>
              <a:rPr lang="ru-RU" sz="1800" b="1" dirty="0" smtClean="0">
                <a:solidFill>
                  <a:srgbClr val="C00000"/>
                </a:solidFill>
              </a:rPr>
              <a:t>«запертые» </a:t>
            </a:r>
            <a:r>
              <a:rPr lang="ru-RU" sz="1800" b="1" dirty="0">
                <a:solidFill>
                  <a:srgbClr val="C00000"/>
                </a:solidFill>
              </a:rPr>
              <a:t>(</a:t>
            </a:r>
            <a:r>
              <a:rPr lang="en-US" sz="1800" b="1" dirty="0" smtClean="0">
                <a:solidFill>
                  <a:srgbClr val="C00000"/>
                </a:solidFill>
              </a:rPr>
              <a:t>lock-out</a:t>
            </a:r>
            <a:r>
              <a:rPr lang="ru-RU" sz="1800" b="1" dirty="0" smtClean="0">
                <a:solidFill>
                  <a:srgbClr val="C00000"/>
                </a:solidFill>
              </a:rPr>
              <a:t>) активы</a:t>
            </a:r>
            <a:r>
              <a:rPr lang="en-US" sz="1800" dirty="0" smtClean="0"/>
              <a:t>.</a:t>
            </a:r>
            <a:r>
              <a:rPr lang="ru-RU" sz="1800" dirty="0" smtClean="0"/>
              <a:t> Например, ЕС намерен вводить корректирующий пограничный налог на импорт </a:t>
            </a:r>
            <a:r>
              <a:rPr lang="ru-RU" sz="1800" dirty="0" err="1" smtClean="0"/>
              <a:t>углеродоемких</a:t>
            </a:r>
            <a:r>
              <a:rPr lang="ru-RU" sz="1800" dirty="0" smtClean="0"/>
              <a:t> товаров, что </a:t>
            </a:r>
            <a:r>
              <a:rPr lang="ru-RU" sz="1800" b="1" dirty="0" smtClean="0">
                <a:solidFill>
                  <a:srgbClr val="C00000"/>
                </a:solidFill>
              </a:rPr>
              <a:t>приведет к снижению доходов казахстанских экспортеров и государственного бюджета, вызовет снижение и отток ПИИ</a:t>
            </a:r>
            <a:r>
              <a:rPr lang="ru-RU" sz="1800" dirty="0" smtClean="0"/>
              <a:t> из Казахстана, чтобы они </a:t>
            </a:r>
            <a:r>
              <a:rPr lang="ru-RU" sz="1800" dirty="0"/>
              <a:t>не </a:t>
            </a:r>
            <a:r>
              <a:rPr lang="ru-RU" sz="1800" dirty="0" smtClean="0"/>
              <a:t>оказалис</a:t>
            </a:r>
            <a:r>
              <a:rPr lang="ru-RU" sz="1800" dirty="0"/>
              <a:t>ь</a:t>
            </a:r>
            <a:r>
              <a:rPr lang="ru-RU" sz="1800" dirty="0" smtClean="0"/>
              <a:t> «запертыми». </a:t>
            </a:r>
          </a:p>
          <a:p>
            <a:pPr>
              <a:lnSpc>
                <a:spcPct val="8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1800" dirty="0" smtClean="0"/>
              <a:t>Сокращение доходов государственного бюджета снизит возможность финансирования систем образования, здравоохранения, транспорта, снизится потенциал создания новых рабочих мест и экономического роста. Поэтому необходимо принимать незамедлительные меры. </a:t>
            </a:r>
            <a:r>
              <a:rPr lang="ru-RU" sz="1800" b="1" dirty="0" smtClean="0">
                <a:solidFill>
                  <a:srgbClr val="C00000"/>
                </a:solidFill>
              </a:rPr>
              <a:t>Государство не должно поддерживать инвестиции в </a:t>
            </a:r>
            <a:r>
              <a:rPr lang="ru-RU" sz="1800" b="1" dirty="0" err="1" smtClean="0">
                <a:solidFill>
                  <a:srgbClr val="C00000"/>
                </a:solidFill>
              </a:rPr>
              <a:t>углеродоёмкие</a:t>
            </a:r>
            <a:r>
              <a:rPr lang="ru-RU" sz="1800" b="1" dirty="0" smtClean="0">
                <a:solidFill>
                  <a:srgbClr val="C00000"/>
                </a:solidFill>
              </a:rPr>
              <a:t>, (</a:t>
            </a:r>
            <a:r>
              <a:rPr lang="ru-RU" sz="1800" b="1" dirty="0" err="1" smtClean="0">
                <a:solidFill>
                  <a:srgbClr val="C00000"/>
                </a:solidFill>
              </a:rPr>
              <a:t>топливоёмкие</a:t>
            </a:r>
            <a:r>
              <a:rPr lang="ru-RU" sz="1800" b="1" dirty="0" smtClean="0">
                <a:solidFill>
                  <a:srgbClr val="C00000"/>
                </a:solidFill>
              </a:rPr>
              <a:t>) проекты. Это – дорога к «застрявшим» активам. Государство, поддерживающее такие инвестиции ждут тяжелые экономические проблемы.</a:t>
            </a:r>
            <a:endParaRPr lang="ru-RU" sz="1800" b="1" dirty="0">
              <a:solidFill>
                <a:srgbClr val="C00000"/>
              </a:solidFill>
            </a:endParaRPr>
          </a:p>
          <a:p>
            <a:pPr>
              <a:lnSpc>
                <a:spcPct val="8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ru-RU" sz="2400" b="1" dirty="0" smtClean="0">
                <a:solidFill>
                  <a:srgbClr val="C00000"/>
                </a:solidFill>
              </a:rPr>
              <a:t>Цель СНУР – выработать устойчивость к неопределенностям, что обеспечит минимизацию рисков и оптимизацию экономических выгод.</a:t>
            </a:r>
            <a:endParaRPr lang="ru-RU" sz="2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36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xmlns="" id="{F8403E8E-92E2-48FB-BBF4-71EB9E019BA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9819" y="619553"/>
            <a:ext cx="8567183" cy="505192"/>
          </a:xfrm>
        </p:spPr>
        <p:txBody>
          <a:bodyPr/>
          <a:lstStyle/>
          <a:p>
            <a:r>
              <a:rPr lang="ru-RU" sz="2400" b="0" dirty="0">
                <a:solidFill>
                  <a:srgbClr val="AA236E"/>
                </a:solidFill>
                <a:latin typeface="Calibri" panose="020F0502020204030204" pitchFamily="34" charset="0"/>
              </a:rPr>
              <a:t>Сценарии развития, предлагаемые для </a:t>
            </a:r>
            <a:r>
              <a:rPr lang="ru-RU" sz="2400" b="0" dirty="0" smtClean="0">
                <a:solidFill>
                  <a:srgbClr val="AA236E"/>
                </a:solidFill>
                <a:latin typeface="Calibri" panose="020F0502020204030204" pitchFamily="34" charset="0"/>
              </a:rPr>
              <a:t>разработки СНУР</a:t>
            </a:r>
            <a:endParaRPr lang="de-DE" sz="2400" b="0" dirty="0">
              <a:solidFill>
                <a:srgbClr val="AA236E"/>
              </a:solidFill>
              <a:latin typeface="Calibri" panose="020F050202020403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xmlns="" id="{62529D83-9185-447E-84C1-82B0B0D3BE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1268761"/>
            <a:ext cx="8064896" cy="5079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8850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6982" y="146963"/>
            <a:ext cx="8712968" cy="518200"/>
          </a:xfrm>
        </p:spPr>
        <p:txBody>
          <a:bodyPr>
            <a:noAutofit/>
          </a:bodyPr>
          <a:lstStyle/>
          <a:p>
            <a:r>
              <a:rPr lang="ru-RU" sz="2000" b="1" dirty="0" smtClean="0"/>
              <a:t>Допущения (предположения) </a:t>
            </a:r>
            <a:r>
              <a:rPr lang="ru-RU" sz="2000" b="1" dirty="0" smtClean="0">
                <a:solidFill>
                  <a:srgbClr val="0070C0"/>
                </a:solidFill>
              </a:rPr>
              <a:t>для сценариев </a:t>
            </a:r>
            <a:r>
              <a:rPr lang="ru-RU" sz="2000" b="1" dirty="0">
                <a:solidFill>
                  <a:srgbClr val="0070C0"/>
                </a:solidFill>
              </a:rPr>
              <a:t>развития международной </a:t>
            </a:r>
            <a:r>
              <a:rPr lang="ru-RU" sz="2000" b="1" dirty="0" smtClean="0">
                <a:solidFill>
                  <a:srgbClr val="0070C0"/>
                </a:solidFill>
              </a:rPr>
              <a:t>климатической политики</a:t>
            </a:r>
            <a:endParaRPr lang="ru-RU" sz="2000" b="1" dirty="0">
              <a:solidFill>
                <a:srgbClr val="0070C0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4936636"/>
              </p:ext>
            </p:extLst>
          </p:nvPr>
        </p:nvGraphicFramePr>
        <p:xfrm>
          <a:off x="251520" y="836711"/>
          <a:ext cx="8784977" cy="5828730"/>
        </p:xfrm>
        <a:graphic>
          <a:graphicData uri="http://schemas.openxmlformats.org/drawingml/2006/table">
            <a:tbl>
              <a:tblPr firstRow="1" firstCol="1" bandRow="1"/>
              <a:tblGrid>
                <a:gridCol w="1512168"/>
                <a:gridCol w="2736304"/>
                <a:gridCol w="4536505"/>
              </a:tblGrid>
              <a:tr h="23678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казатель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лобальный_</a:t>
                      </a:r>
                      <a:r>
                        <a:rPr lang="en-GB" sz="15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DC</a:t>
                      </a:r>
                      <a:endParaRPr lang="ru-RU" sz="1500" b="1" dirty="0">
                        <a:solidFill>
                          <a:srgbClr val="FFFFFF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marL="32385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лобальный_</a:t>
                      </a:r>
                      <a:r>
                        <a:rPr lang="en-GB" sz="15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1.5°C</a:t>
                      </a:r>
                      <a:endParaRPr lang="ru-RU" sz="1500" b="1" dirty="0">
                        <a:solidFill>
                          <a:srgbClr val="FFFFFF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</a:tr>
              <a:tr h="51425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лобальный спрос на нефть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должает расти в течении всего периода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385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табилизируется в период </a:t>
                      </a:r>
                      <a:r>
                        <a:rPr lang="en-GB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/>
                      </a:r>
                      <a:br>
                        <a:rPr lang="en-GB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en-GB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2035-2040 </a:t>
                      </a:r>
                      <a:r>
                        <a:rPr lang="ru-RU" sz="1500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г</a:t>
                      </a:r>
                      <a:r>
                        <a:rPr lang="en-GB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.</a:t>
                      </a:r>
                      <a:endParaRPr lang="ru-RU" sz="15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2469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Цены на </a:t>
                      </a:r>
                      <a:r>
                        <a:rPr lang="ru-RU" sz="15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фть</a:t>
                      </a:r>
                      <a:endParaRPr lang="ru-RU" sz="15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осстанавливаются до 2025 г. до уровня 2018 г., далее возрастают до конца моделируемого периода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32385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осстанавливаются до 2025 г., снижаются в период 2025-2035 гг., стабилизируются в долгосрочной перспективе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91655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лобальный спрос на уголь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осстанавливаются </a:t>
                      </a: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о уровня 2017 года 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 потом </a:t>
                      </a:r>
                      <a:r>
                        <a:rPr lang="ru-RU" sz="15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(с какого года?) </a:t>
                      </a:r>
                      <a:r>
                        <a:rPr lang="ru-RU" sz="15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 </a:t>
                      </a: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нижаются до конца моделируемого периода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385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ыстро снижается по ходу всего периода; в </a:t>
                      </a:r>
                      <a:r>
                        <a:rPr lang="ru-RU" sz="15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2015 г</a:t>
                      </a: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. достигнет уровня в 6 раз ниже в сравнении с уровнем, предусмотренным в сценарии «Глобальный_</a:t>
                      </a:r>
                      <a:r>
                        <a:rPr lang="en-GB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DC</a:t>
                      </a: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»; пик цен был достигнут в 2019 г.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704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ждународная система торговли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ет медленно развиваться, но придерживаясь существующих основных принципов 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32385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низится мировой спрос на товары с высокой </a:t>
                      </a:r>
                      <a:r>
                        <a:rPr lang="ru-RU" sz="1500" dirty="0" err="1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глеродоемкостью</a:t>
                      </a:r>
                      <a:r>
                        <a:rPr lang="ru-RU" sz="15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; будут налагаться </a:t>
                      </a:r>
                      <a:r>
                        <a:rPr lang="ru-RU" sz="150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санкции </a:t>
                      </a:r>
                      <a:r>
                        <a:rPr lang="ru-RU" sz="15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а крупных мировых загрязнителей атмосферы, что приведет к повышению цен на продукцию экспорта Казахстана или ее квотированию (последняя мера менее вероятна</a:t>
                      </a:r>
                      <a:r>
                        <a:rPr lang="ru-RU" sz="15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) </a:t>
                      </a:r>
                      <a:endParaRPr lang="ru-RU" sz="15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92469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лобальные цены на выбросы СО2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о 2035 г. достигнут уровня 65 долл. США за тонну СО2-экв., далее стабилизируются 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385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о 2035 г. достигнут уровня 70 долл. США за тонну СО2-экв.,</a:t>
                      </a:r>
                      <a:b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к 2040 г. – 90 долл. США;</a:t>
                      </a:r>
                      <a:b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к 2050 г. – 130 долл. США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2469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ировые цены на металлы (литий, кобальт, никель)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медленно расти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32385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5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быстро расти</a:t>
                      </a:r>
                    </a:p>
                  </a:txBody>
                  <a:tcPr marL="67226" marR="67226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1617663" y="66516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8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88641"/>
            <a:ext cx="8229600" cy="792088"/>
          </a:xfrm>
        </p:spPr>
        <p:txBody>
          <a:bodyPr>
            <a:noAutofit/>
          </a:bodyPr>
          <a:lstStyle/>
          <a:p>
            <a:r>
              <a:rPr lang="ru-RU" sz="2000" b="1" dirty="0" smtClean="0"/>
              <a:t>Допущения (предположения) </a:t>
            </a:r>
            <a:r>
              <a:rPr lang="ru-RU" sz="2000" b="1" dirty="0" smtClean="0">
                <a:solidFill>
                  <a:srgbClr val="0070C0"/>
                </a:solidFill>
              </a:rPr>
              <a:t>для сценариев </a:t>
            </a:r>
            <a:r>
              <a:rPr lang="ru-RU" sz="2000" b="1" dirty="0">
                <a:solidFill>
                  <a:srgbClr val="0070C0"/>
                </a:solidFill>
              </a:rPr>
              <a:t>развития внутренней политик</a:t>
            </a:r>
            <a:r>
              <a:rPr lang="ru-RU" sz="2000" b="1" dirty="0"/>
              <a:t>и </a:t>
            </a:r>
            <a:r>
              <a:rPr lang="ru-RU" sz="2000" b="1" dirty="0" smtClean="0"/>
              <a:t>Казахстана </a:t>
            </a:r>
            <a:r>
              <a:rPr lang="ru-RU" sz="2000" b="1" dirty="0"/>
              <a:t>по повышению </a:t>
            </a:r>
            <a:r>
              <a:rPr lang="ru-RU" sz="2000" b="1" dirty="0" smtClean="0"/>
              <a:t>энергоэффективности </a:t>
            </a:r>
            <a:r>
              <a:rPr lang="ru-RU" sz="2000" b="1" dirty="0"/>
              <a:t>и снижению выбросов ПГ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53774371"/>
              </p:ext>
            </p:extLst>
          </p:nvPr>
        </p:nvGraphicFramePr>
        <p:xfrm>
          <a:off x="323528" y="1124744"/>
          <a:ext cx="8640961" cy="5588222"/>
        </p:xfrm>
        <a:graphic>
          <a:graphicData uri="http://schemas.openxmlformats.org/drawingml/2006/table">
            <a:tbl>
              <a:tblPr firstRow="1" firstCol="1" bandRow="1"/>
              <a:tblGrid>
                <a:gridCol w="1656184"/>
                <a:gridCol w="1944216"/>
                <a:gridCol w="2376264"/>
                <a:gridCol w="2664297"/>
              </a:tblGrid>
              <a:tr h="35969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Базовый»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ая экономика»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Нулевой_баланс_ПГ»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</a:tr>
              <a:tr h="117491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истема торговли квотами на выбросы ПГ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0354" marR="50354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уществующая </a:t>
                      </a: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ТВ сохранится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; уровень цен на выбросы ПГ не будет значительно изменяться 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истема расширится вхождением других предприятий; цены на выбросы ПГ будут расти до 2030 года, далее стабилизируются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Расширенная структура, как в сценарии «Зеленая экономика», но цены на выбросы будут продолжать расти после 2035 года до конца наблюдаемого периода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00707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Цена на </a:t>
                      </a: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ыбросы ПГ (напр.,  налог) </a:t>
                      </a: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ля остальной экономики, не входящей в СТВ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 касаются предприятий, не входящих в СТВ; </a:t>
                      </a:r>
                      <a:b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 влияют прямым путем на домохозяйства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Широкое вовлечение всех участников экономической системы путем установления цены на выбросы ПГ по экономике в целом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трогий 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ониторинг и постоянный </a:t>
                      </a: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смотр  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ровня цены на выбросы ПГ в сторону повышения 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544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осударственные инвестиции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</a:t>
                      </a: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должать внедрятся 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уществующие программы и политика 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смотр всех </a:t>
                      </a:r>
                      <a:r>
                        <a:rPr lang="ru-RU" sz="1400" b="1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грамм </a:t>
                      </a:r>
                      <a:r>
                        <a:rPr lang="ru-RU" sz="14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 их </a:t>
                      </a:r>
                      <a:r>
                        <a:rPr lang="ru-RU" sz="1400" b="1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фокусирования</a:t>
                      </a:r>
                      <a:r>
                        <a:rPr lang="ru-RU" sz="14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по критериям влияния </a:t>
                      </a:r>
                      <a:r>
                        <a:rPr lang="ru-RU" sz="1400" b="1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нвестиций </a:t>
                      </a:r>
                      <a:r>
                        <a:rPr lang="ru-RU" sz="1400" b="1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а выбросы и </a:t>
                      </a:r>
                      <a:r>
                        <a:rPr lang="ru-RU" sz="1400" b="1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нергопотребление</a:t>
                      </a:r>
                      <a:endParaRPr lang="ru-RU" sz="1400" b="1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ивлечение дополнительных инвестиций из доступных доходов бюджета, внутренних и международных кредитов для внедрения широкомасштабной инвестиционной программы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34276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нвестиционная политика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лабые стимулы инвестирования в повышение энерго-эффективности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едложение пакета стимулов для инвестиций в энергоэффективность и снижение потребления топлива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недрения </a:t>
                      </a: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грамм 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дешевых кредитов» и «налоговых каникул» для стимулирования инвестиций в проекты </a:t>
                      </a:r>
                      <a:r>
                        <a:rPr lang="ru-RU" sz="1400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изкоуглеродного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развития и поглощения углерода</a:t>
                      </a:r>
                    </a:p>
                  </a:txBody>
                  <a:tcPr marL="50354" marR="50354" marT="0" marB="0">
                    <a:lnL w="12700" cap="flat" cmpd="sng" algn="ctr">
                      <a:solidFill>
                        <a:srgbClr val="C6C6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A4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6859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755576" y="2420888"/>
            <a:ext cx="7772400" cy="136207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2800" dirty="0" smtClean="0">
                <a:solidFill>
                  <a:srgbClr val="C00000"/>
                </a:solidFill>
              </a:rPr>
              <a:t>Отраслевые </a:t>
            </a:r>
            <a:r>
              <a:rPr lang="ru-RU" sz="2800" dirty="0">
                <a:solidFill>
                  <a:srgbClr val="C00000"/>
                </a:solidFill>
              </a:rPr>
              <a:t>политики и </a:t>
            </a:r>
            <a:r>
              <a:rPr lang="ru-RU" sz="2800" dirty="0" smtClean="0">
                <a:solidFill>
                  <a:srgbClr val="C00000"/>
                </a:solidFill>
              </a:rPr>
              <a:t>меры</a:t>
            </a:r>
            <a:br>
              <a:rPr lang="ru-RU" sz="2800" dirty="0" smtClean="0">
                <a:solidFill>
                  <a:srgbClr val="C00000"/>
                </a:solidFill>
              </a:rPr>
            </a:br>
            <a:r>
              <a:rPr lang="ru-RU" sz="2800" dirty="0">
                <a:solidFill>
                  <a:srgbClr val="C00000"/>
                </a:solidFill>
              </a:rPr>
              <a:t/>
            </a:r>
            <a:br>
              <a:rPr lang="ru-RU" sz="2800" dirty="0">
                <a:solidFill>
                  <a:srgbClr val="C00000"/>
                </a:solidFill>
              </a:rPr>
            </a:br>
            <a:endParaRPr lang="ru-RU" sz="2200" b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097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332656"/>
            <a:ext cx="8229600" cy="864096"/>
          </a:xfrm>
        </p:spPr>
        <p:txBody>
          <a:bodyPr>
            <a:no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Основным критерием отбора всех политик и мер в СНУР является ОБЕСПЕЧЕНИЕ ЭФФЕКТИВНОГО ИСПОЛЬЗОВАНИЯ ЭНЕРГИИ И РЕСУРСОВ 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(«технический принцип»)</a:t>
            </a:r>
            <a:endParaRPr lang="ru-RU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1484784"/>
            <a:ext cx="8363272" cy="5184576"/>
          </a:xfrm>
        </p:spPr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ru-RU" sz="4500" dirty="0" smtClean="0"/>
              <a:t>Целью и/или </a:t>
            </a:r>
            <a:r>
              <a:rPr lang="ru-RU" sz="4500" dirty="0"/>
              <a:t>эффектом любой политической меры </a:t>
            </a:r>
            <a:r>
              <a:rPr lang="ru-RU" sz="4500" dirty="0" smtClean="0"/>
              <a:t>СНУР должны </a:t>
            </a:r>
            <a:r>
              <a:rPr lang="ru-RU" sz="4500" dirty="0"/>
              <a:t>быть:</a:t>
            </a:r>
          </a:p>
          <a:p>
            <a:pPr>
              <a:buFont typeface="Wingdings" pitchFamily="2" charset="2"/>
              <a:buChar char="Ø"/>
            </a:pPr>
            <a:r>
              <a:rPr lang="ru-RU" sz="4500" b="1" dirty="0" smtClean="0">
                <a:solidFill>
                  <a:srgbClr val="C00000"/>
                </a:solidFill>
              </a:rPr>
              <a:t>снижение </a:t>
            </a:r>
            <a:r>
              <a:rPr lang="ru-RU" sz="4500" b="1" dirty="0">
                <a:solidFill>
                  <a:srgbClr val="C00000"/>
                </a:solidFill>
              </a:rPr>
              <a:t>энергоемкости в промышленном производстве</a:t>
            </a:r>
            <a:r>
              <a:rPr lang="ru-RU" sz="4500" dirty="0">
                <a:solidFill>
                  <a:srgbClr val="C00000"/>
                </a:solidFill>
              </a:rPr>
              <a:t>, и / или</a:t>
            </a:r>
          </a:p>
          <a:p>
            <a:pPr>
              <a:buFont typeface="Wingdings" pitchFamily="2" charset="2"/>
              <a:buChar char="Ø"/>
            </a:pPr>
            <a:r>
              <a:rPr lang="ru-RU" sz="4500" b="1" dirty="0" smtClean="0">
                <a:solidFill>
                  <a:srgbClr val="C00000"/>
                </a:solidFill>
              </a:rPr>
              <a:t>сокращение </a:t>
            </a:r>
            <a:r>
              <a:rPr lang="ru-RU" sz="4500" b="1" dirty="0">
                <a:solidFill>
                  <a:srgbClr val="C00000"/>
                </a:solidFill>
              </a:rPr>
              <a:t>энергопотребления </a:t>
            </a:r>
            <a:r>
              <a:rPr lang="ru-RU" sz="4500" b="1" dirty="0" smtClean="0">
                <a:solidFill>
                  <a:srgbClr val="C00000"/>
                </a:solidFill>
              </a:rPr>
              <a:t>в домашних хозяйствах</a:t>
            </a:r>
            <a:r>
              <a:rPr lang="ru-RU" sz="4500" b="1" dirty="0" smtClean="0"/>
              <a:t>.</a:t>
            </a:r>
            <a:endParaRPr lang="ru-RU" sz="4500" b="1" dirty="0"/>
          </a:p>
          <a:p>
            <a:pPr marL="0" indent="0">
              <a:buNone/>
            </a:pPr>
            <a:endParaRPr lang="ru-RU" sz="4500" dirty="0" smtClean="0"/>
          </a:p>
          <a:p>
            <a:pPr marL="0" indent="0">
              <a:buNone/>
            </a:pPr>
            <a:r>
              <a:rPr lang="ru-RU" sz="4500" dirty="0" smtClean="0"/>
              <a:t>Например, в СНУР могут быть : </a:t>
            </a:r>
            <a:endParaRPr lang="ru-RU" sz="4500" dirty="0"/>
          </a:p>
          <a:p>
            <a:pPr>
              <a:buFont typeface="Wingdings" pitchFamily="2" charset="2"/>
              <a:buChar char="Ø"/>
            </a:pPr>
            <a:r>
              <a:rPr lang="ru-RU" sz="4500" dirty="0" smtClean="0"/>
              <a:t>Максимальное использование  промышленностью, домохозяйствами и транспортом ВИЭ и их интеграция в общие сети, включая распределенные источники</a:t>
            </a:r>
          </a:p>
          <a:p>
            <a:pPr>
              <a:buFont typeface="Wingdings" pitchFamily="2" charset="2"/>
              <a:buChar char="Ø"/>
            </a:pPr>
            <a:r>
              <a:rPr lang="ru-RU" sz="4500" dirty="0" smtClean="0"/>
              <a:t>Энергетическая </a:t>
            </a:r>
            <a:r>
              <a:rPr lang="ru-RU" sz="4500" dirty="0"/>
              <a:t>стратегия страны должна включать  развитие теплоснабжения на основе ВИЭ, включая теплоснабжение домохозяйств и малого бизнеса.</a:t>
            </a:r>
          </a:p>
          <a:p>
            <a:pPr>
              <a:buFont typeface="Wingdings" pitchFamily="2" charset="2"/>
              <a:buChar char="Ø"/>
            </a:pPr>
            <a:r>
              <a:rPr lang="ru-RU" sz="4500" dirty="0" smtClean="0"/>
              <a:t>Выбор </a:t>
            </a:r>
            <a:r>
              <a:rPr lang="ru-RU" sz="4500" dirty="0"/>
              <a:t>технологии – это индивидуальное решение </a:t>
            </a:r>
            <a:r>
              <a:rPr lang="ru-RU" sz="4500" dirty="0" smtClean="0"/>
              <a:t>инвесторов. </a:t>
            </a:r>
            <a:r>
              <a:rPr lang="ru-RU" sz="4500" dirty="0"/>
              <a:t>Но каждое разрешение на строительство или замену капитальных фондов </a:t>
            </a:r>
            <a:r>
              <a:rPr lang="ru-RU" sz="4500" dirty="0" smtClean="0"/>
              <a:t>выдается контролирующими госорганами. Техническое регулирование должно соответствовать  требованиям </a:t>
            </a:r>
            <a:r>
              <a:rPr lang="ru-RU" sz="4500" dirty="0" err="1" smtClean="0"/>
              <a:t>энерго</a:t>
            </a:r>
            <a:r>
              <a:rPr lang="ru-RU" sz="4500" dirty="0" smtClean="0"/>
              <a:t>- и </a:t>
            </a:r>
            <a:r>
              <a:rPr lang="ru-RU" sz="4500" dirty="0" err="1"/>
              <a:t>ресуро</a:t>
            </a:r>
            <a:r>
              <a:rPr lang="ru-RU" sz="4500" dirty="0" err="1" smtClean="0"/>
              <a:t>эффективности</a:t>
            </a:r>
            <a:r>
              <a:rPr lang="ru-RU" sz="4500" dirty="0" smtClean="0"/>
              <a:t>.</a:t>
            </a:r>
            <a:endParaRPr lang="ru-RU" sz="4500" dirty="0"/>
          </a:p>
          <a:p>
            <a:pPr>
              <a:buFont typeface="Wingdings" pitchFamily="2" charset="2"/>
              <a:buChar char="Ø"/>
            </a:pPr>
            <a:r>
              <a:rPr lang="ru-RU" sz="4500" dirty="0" smtClean="0"/>
              <a:t>Государственное </a:t>
            </a:r>
            <a:r>
              <a:rPr lang="ru-RU" sz="4500" dirty="0"/>
              <a:t>финансирование и стимулирование </a:t>
            </a:r>
            <a:r>
              <a:rPr lang="ru-RU" sz="4500" dirty="0" smtClean="0"/>
              <a:t>НИОКР для </a:t>
            </a:r>
            <a:r>
              <a:rPr lang="ru-RU" sz="4500" dirty="0"/>
              <a:t>содействия </a:t>
            </a:r>
            <a:r>
              <a:rPr lang="ru-RU" sz="4500" dirty="0" smtClean="0"/>
              <a:t>ускорению перехода к </a:t>
            </a:r>
            <a:r>
              <a:rPr lang="ru-RU" sz="4500" dirty="0"/>
              <a:t>"зеленым" новым технологиям</a:t>
            </a:r>
            <a:r>
              <a:rPr lang="ru-RU" sz="4500" dirty="0" smtClean="0"/>
              <a:t>.</a:t>
            </a:r>
            <a:endParaRPr lang="ru-RU" sz="4500" dirty="0"/>
          </a:p>
          <a:p>
            <a:pPr>
              <a:buFont typeface="Wingdings" pitchFamily="2" charset="2"/>
              <a:buChar char="Ø"/>
            </a:pPr>
            <a:r>
              <a:rPr lang="ru-RU" sz="4500" dirty="0" smtClean="0"/>
              <a:t>Изучение </a:t>
            </a:r>
            <a:r>
              <a:rPr lang="ru-RU" sz="4500" dirty="0"/>
              <a:t>технологий УХУ (улавливания, использования и хранения углерода).</a:t>
            </a:r>
          </a:p>
          <a:p>
            <a:pPr>
              <a:buFont typeface="Wingdings" pitchFamily="2" charset="2"/>
              <a:buChar char="Ø"/>
            </a:pPr>
            <a:r>
              <a:rPr lang="ru-RU" sz="4500" dirty="0" smtClean="0"/>
              <a:t>Интеграция </a:t>
            </a:r>
            <a:r>
              <a:rPr lang="ru-RU" sz="4500" dirty="0"/>
              <a:t>политики </a:t>
            </a:r>
            <a:r>
              <a:rPr lang="ru-RU" sz="4500" dirty="0" err="1" smtClean="0"/>
              <a:t>митигации</a:t>
            </a:r>
            <a:r>
              <a:rPr lang="ru-RU" sz="4500" dirty="0" smtClean="0"/>
              <a:t> с </a:t>
            </a:r>
            <a:r>
              <a:rPr lang="ru-RU" sz="4500" dirty="0"/>
              <a:t>политикой адаптации к необратимым последствиям изменения климата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9605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57200" y="188641"/>
            <a:ext cx="8229600" cy="648071"/>
          </a:xfrm>
        </p:spPr>
        <p:txBody>
          <a:bodyPr>
            <a:normAutofit/>
          </a:bodyPr>
          <a:lstStyle/>
          <a:p>
            <a:r>
              <a:rPr lang="ru-RU" sz="2000" b="1" dirty="0">
                <a:solidFill>
                  <a:srgbClr val="C00000"/>
                </a:solidFill>
              </a:rPr>
              <a:t>«Энергетическая деятельность</a:t>
            </a:r>
            <a:r>
              <a:rPr lang="ru-RU" sz="2000" b="1" dirty="0" smtClean="0">
                <a:solidFill>
                  <a:srgbClr val="C00000"/>
                </a:solidFill>
              </a:rPr>
              <a:t>»: отрасли, сжигающие топливо</a:t>
            </a:r>
            <a:endParaRPr lang="ru-RU" sz="2000" b="1" dirty="0">
              <a:solidFill>
                <a:srgbClr val="C00000"/>
              </a:solidFill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467544" y="908720"/>
            <a:ext cx="8352928" cy="5688632"/>
          </a:xfr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ru-RU" sz="1400" b="1" dirty="0">
                <a:solidFill>
                  <a:srgbClr val="C00000"/>
                </a:solidFill>
              </a:rPr>
              <a:t>Предварительные пакеты технических и политических решений в рамках </a:t>
            </a:r>
            <a:r>
              <a:rPr lang="ru-RU" sz="1400" b="1" dirty="0" smtClean="0">
                <a:solidFill>
                  <a:srgbClr val="C00000"/>
                </a:solidFill>
              </a:rPr>
              <a:t>государственной политики:</a:t>
            </a:r>
            <a:endParaRPr lang="ru-RU" sz="1400" b="1" dirty="0">
              <a:solidFill>
                <a:srgbClr val="C00000"/>
              </a:solidFill>
            </a:endParaRP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Электрификация (промышленность, домохозяйства, транспорт и др. сектора должны  переходить от сжигания топлива к использованию электрической и тепловой энергии напрямую от ВИЭ)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/>
              <a:t>Использование </a:t>
            </a:r>
            <a:r>
              <a:rPr lang="ru-RU" sz="1400" dirty="0" smtClean="0"/>
              <a:t>водорода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Использование </a:t>
            </a:r>
            <a:r>
              <a:rPr lang="ru-RU" sz="1400" dirty="0" err="1" smtClean="0"/>
              <a:t>биотоплива</a:t>
            </a:r>
            <a:r>
              <a:rPr lang="ru-RU" sz="1400" dirty="0" smtClean="0"/>
              <a:t> </a:t>
            </a:r>
            <a:r>
              <a:rPr lang="ru-RU" sz="1400" dirty="0"/>
              <a:t>(</a:t>
            </a:r>
            <a:r>
              <a:rPr lang="ru-RU" sz="1400" dirty="0" smtClean="0"/>
              <a:t>этанола)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/>
              <a:t>Повышение </a:t>
            </a:r>
            <a:r>
              <a:rPr lang="ru-RU" sz="1400" dirty="0" smtClean="0"/>
              <a:t>энергоэффективности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Циркулярная экономика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Комбинация </a:t>
            </a:r>
            <a:r>
              <a:rPr lang="ru-RU" sz="1400" dirty="0"/>
              <a:t>мер «зеленой экономики</a:t>
            </a:r>
            <a:r>
              <a:rPr lang="ru-RU" sz="1400" dirty="0" smtClean="0"/>
              <a:t>»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/>
              <a:t>«1,5°C</a:t>
            </a:r>
            <a:r>
              <a:rPr lang="ru-RU" sz="1400" dirty="0" smtClean="0"/>
              <a:t>» комбинация </a:t>
            </a:r>
            <a:r>
              <a:rPr lang="ru-RU" sz="1400" dirty="0"/>
              <a:t>всех технологий нулевого </a:t>
            </a:r>
            <a:r>
              <a:rPr lang="ru-RU" sz="1400" dirty="0" smtClean="0"/>
              <a:t>баланса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/>
              <a:t>«1,5°C» + все циклы в экономике </a:t>
            </a:r>
            <a:r>
              <a:rPr lang="ru-RU" sz="1400" dirty="0" smtClean="0"/>
              <a:t>устойчивые.</a:t>
            </a:r>
            <a:endParaRPr lang="ru-RU" sz="1400" dirty="0"/>
          </a:p>
          <a:p>
            <a:pPr marL="0" indent="0">
              <a:lnSpc>
                <a:spcPct val="90000"/>
              </a:lnSpc>
              <a:spcBef>
                <a:spcPts val="1200"/>
              </a:spcBef>
              <a:buNone/>
            </a:pPr>
            <a:r>
              <a:rPr lang="ru-RU" sz="1400" b="1" dirty="0" smtClean="0">
                <a:solidFill>
                  <a:srgbClr val="C00000"/>
                </a:solidFill>
              </a:rPr>
              <a:t>Каждый пакет мер содержит :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Основные драйверы</a:t>
            </a:r>
            <a:r>
              <a:rPr lang="ru-RU" sz="1400" dirty="0"/>
              <a:t>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Цель </a:t>
            </a:r>
            <a:r>
              <a:rPr lang="ru-RU" sz="1400" dirty="0"/>
              <a:t>сокращения выбросов ПГ</a:t>
            </a:r>
            <a:r>
              <a:rPr lang="ru-RU" sz="1400" dirty="0" smtClean="0"/>
              <a:t>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Основные предпосылки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Генерация электроэнергии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Обрабатывающая промышленность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Здания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Транспорт;</a:t>
            </a:r>
          </a:p>
          <a:p>
            <a:pPr marL="514350" indent="-514350">
              <a:lnSpc>
                <a:spcPct val="90000"/>
              </a:lnSpc>
              <a:buFont typeface="+mj-lt"/>
              <a:buAutoNum type="arabicPeriod"/>
            </a:pPr>
            <a:r>
              <a:rPr lang="ru-RU" sz="1400" dirty="0" smtClean="0"/>
              <a:t>Другие драйверы</a:t>
            </a:r>
          </a:p>
          <a:p>
            <a:pPr marL="0" indent="0">
              <a:lnSpc>
                <a:spcPct val="90000"/>
              </a:lnSpc>
              <a:spcBef>
                <a:spcPts val="1200"/>
              </a:spcBef>
              <a:buNone/>
            </a:pPr>
            <a:r>
              <a:rPr lang="ru-RU" sz="1400" b="1" dirty="0" smtClean="0">
                <a:solidFill>
                  <a:srgbClr val="C00000"/>
                </a:solidFill>
              </a:rPr>
              <a:t>АО «</a:t>
            </a:r>
            <a:r>
              <a:rPr lang="ru-RU" sz="1400" b="1" dirty="0" err="1" smtClean="0">
                <a:solidFill>
                  <a:srgbClr val="C00000"/>
                </a:solidFill>
              </a:rPr>
              <a:t>Жасыл</a:t>
            </a:r>
            <a:r>
              <a:rPr lang="ru-RU" sz="1400" b="1" dirty="0" smtClean="0">
                <a:solidFill>
                  <a:srgbClr val="C00000"/>
                </a:solidFill>
              </a:rPr>
              <a:t> даму» считает бесперспективными для Казахстана пакеты: </a:t>
            </a:r>
          </a:p>
          <a:p>
            <a:pPr marL="514350" indent="-51435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400" dirty="0"/>
              <a:t>Использование </a:t>
            </a:r>
            <a:r>
              <a:rPr lang="ru-RU" sz="1400" dirty="0" smtClean="0"/>
              <a:t>этанола – рекомендуем заменить на использования биогаза;</a:t>
            </a:r>
          </a:p>
          <a:p>
            <a:pPr marL="514350" indent="-514350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400" dirty="0" smtClean="0"/>
              <a:t>Использование технологии УХУ – для поглощения можно разводить леса и выращивать водоросли</a:t>
            </a:r>
          </a:p>
          <a:p>
            <a:pPr marL="0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ru-RU" sz="1400" dirty="0" smtClean="0"/>
              <a:t>А </a:t>
            </a:r>
            <a:r>
              <a:rPr lang="ru-RU" sz="1400" dirty="0"/>
              <a:t>также  АО «</a:t>
            </a:r>
            <a:r>
              <a:rPr lang="ru-RU" sz="1400" dirty="0" err="1"/>
              <a:t>Жасыл</a:t>
            </a:r>
            <a:r>
              <a:rPr lang="ru-RU" sz="1400" dirty="0"/>
              <a:t> даму» считает не целесообразным </a:t>
            </a:r>
            <a:r>
              <a:rPr lang="ru-RU" sz="1400" dirty="0" smtClean="0"/>
              <a:t>строительство АЭС в Казахстане в виду ценовой неконкурентоспособности атомной электрической и </a:t>
            </a:r>
            <a:r>
              <a:rPr lang="ru-RU" sz="1400" dirty="0" err="1" smtClean="0"/>
              <a:t>теплоэнергии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646463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88641"/>
            <a:ext cx="8229600" cy="720080"/>
          </a:xfrm>
        </p:spPr>
        <p:txBody>
          <a:bodyPr>
            <a:normAutofit/>
          </a:bodyPr>
          <a:lstStyle/>
          <a:p>
            <a:r>
              <a:rPr lang="ru-RU" sz="2000" b="1" dirty="0"/>
              <a:t>Ориентиры развития </a:t>
            </a:r>
            <a:r>
              <a:rPr lang="ru-RU" sz="2000" b="1" dirty="0">
                <a:solidFill>
                  <a:srgbClr val="C00000"/>
                </a:solidFill>
              </a:rPr>
              <a:t>сектора электро- и теплоснабжения</a:t>
            </a:r>
            <a:r>
              <a:rPr lang="ru-RU" sz="2000" b="1" dirty="0">
                <a:solidFill>
                  <a:srgbClr val="0070C0"/>
                </a:solidFill>
              </a:rPr>
              <a:t> </a:t>
            </a:r>
            <a:r>
              <a:rPr lang="ru-RU" sz="2000" b="1" dirty="0"/>
              <a:t>в зависимости от сценария внутренней политики (подлежит пересмотру и проверке)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3853857"/>
              </p:ext>
            </p:extLst>
          </p:nvPr>
        </p:nvGraphicFramePr>
        <p:xfrm>
          <a:off x="204308" y="1124744"/>
          <a:ext cx="8832188" cy="5443546"/>
        </p:xfrm>
        <a:graphic>
          <a:graphicData uri="http://schemas.openxmlformats.org/drawingml/2006/table">
            <a:tbl>
              <a:tblPr firstRow="1" firstCol="1" bandRow="1"/>
              <a:tblGrid>
                <a:gridCol w="2174484"/>
                <a:gridCol w="1814245"/>
                <a:gridCol w="2350502"/>
                <a:gridCol w="2492957"/>
              </a:tblGrid>
              <a:tr h="21358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Базовый»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ая_Экономика»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Нулевой_баланс_ПГ»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</a:tr>
              <a:tr h="115457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ru-RU" sz="1200" dirty="0" smtClean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ТВ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/ цены на выбросы ПГ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едприятия сектора, которые до настоящего времени не стали участниками СТВ, не войдут в систему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се неиндивидуальные электрогенерирующие установки станут участниками СТВ;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Цены на выбросы будут расти до 2030 г. Потом стабилизируются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Широкое участие предприятий сектора, как в сценарии «Зеленая экономика», но цены на выбросы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должат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расти после 2035 года до конца наблюдаемого периода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100811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ru-RU" sz="1200" dirty="0" smtClean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Тарифы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а электроэнергию и тепло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оставаться низкими для потребителей;</a:t>
                      </a:r>
                      <a:b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ый тариф» для ВИЭ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покрывать все издержки производства и определятся рынком;</a:t>
                      </a:r>
                      <a:b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ый тариф» для ВИЭ будет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должаться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ся энергия, которая будет производиться на </a:t>
                      </a: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снове </a:t>
                      </a: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лезных ископаемых, будет облагаться налогом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561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лектрификация 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Только сегодняшняя политика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ысокий спрос на энергию будет покрываться не за счет угля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ИЭ обеспечат почти 100 % спрос на электроэнергию в 2050 г.</a:t>
                      </a:r>
                    </a:p>
                  </a:txBody>
                  <a:tcPr marL="50237" marR="50237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561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ИЭ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внедряться сегодняшними темпами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усиленно внедряться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780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ход с угля на природный газ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ыстро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лный отказ от угля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62342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Замена устаревших генераторов новыми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 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ыстро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о 2050-го года абсолютная замена всех генераторов, работающих на ископаемых источниках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3123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вышение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нергоэффективности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ез изменений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птимизация системы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беспечит сбережение энергии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охранение всей произвденной энергии путем тесной «синергации секторов» и технологий хранения энергии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41561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недрение технологий УХУ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 будут внедрятся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 будут внедряться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полностью покрывать все оставшиеся выбросы ПГ в секторе</a:t>
                      </a:r>
                    </a:p>
                  </a:txBody>
                  <a:tcPr marL="50237" marR="50237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4995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8229600" cy="778097"/>
          </a:xfrm>
        </p:spPr>
        <p:txBody>
          <a:bodyPr>
            <a:normAutofit/>
          </a:bodyPr>
          <a:lstStyle/>
          <a:p>
            <a:r>
              <a:rPr lang="ru-RU" sz="2000" b="1" dirty="0"/>
              <a:t>Ориентиры развития </a:t>
            </a:r>
            <a:r>
              <a:rPr lang="ru-RU" sz="2000" b="1" dirty="0">
                <a:solidFill>
                  <a:srgbClr val="C00000"/>
                </a:solidFill>
              </a:rPr>
              <a:t>сектора зданий </a:t>
            </a:r>
            <a:r>
              <a:rPr lang="ru-RU" sz="2000" b="1" dirty="0"/>
              <a:t>в зависимости от мер внутренней политики (подлежит пересмотру и проверке)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5032830"/>
              </p:ext>
            </p:extLst>
          </p:nvPr>
        </p:nvGraphicFramePr>
        <p:xfrm>
          <a:off x="323528" y="1052736"/>
          <a:ext cx="8568951" cy="5302309"/>
        </p:xfrm>
        <a:graphic>
          <a:graphicData uri="http://schemas.openxmlformats.org/drawingml/2006/table">
            <a:tbl>
              <a:tblPr firstRow="1" firstCol="1" bandRow="1"/>
              <a:tblGrid>
                <a:gridCol w="2109676"/>
                <a:gridCol w="2023987"/>
                <a:gridCol w="2236496"/>
                <a:gridCol w="2198792"/>
              </a:tblGrid>
              <a:tr h="21218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Базовый»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ая_Экономика»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Нулевой_баланс_ПГ»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</a:tr>
              <a:tr h="83514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Тарифы на электроэнергию и тепло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оставаться низкими для потребителей;</a:t>
                      </a:r>
                      <a:b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</a:b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ый тариф» для ВИЭ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расти до 2030 года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нергия, </a:t>
                      </a: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которая будет производиться на </a:t>
                      </a: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снове </a:t>
                      </a: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лезных ископаемых, </a:t>
                      </a: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ет </a:t>
                      </a: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благаться </a:t>
                      </a: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ысоким </a:t>
                      </a: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алогом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757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лектрификация зданий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икакие меры не будут внедряться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енерация тепла за счет электроэнергии и ВИЭ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ИЭ обеспечат почти 100 % спрос на электроэнергию в 2050 г.</a:t>
                      </a:r>
                    </a:p>
                  </a:txBody>
                  <a:tcPr marL="54251" marR="54251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41757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спользование водорода для энергообеспечения зданий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2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 внедряется до 2050 года</a:t>
                      </a:r>
                    </a:p>
                  </a:txBody>
                  <a:tcPr marL="54251" marR="54251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635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спользование </a:t>
                      </a:r>
                      <a:r>
                        <a:rPr lang="ru-RU" sz="1200" dirty="0" err="1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ио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-топлива для энергообеспечения зданий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недряется медленно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недряется до 2050 года в проектах, где это экономически выгодно</a:t>
                      </a:r>
                    </a:p>
                  </a:txBody>
                  <a:tcPr marL="54251" marR="54251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20878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ход с угля на природный газ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ыстро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лный отказ от угля и газа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757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ИЭ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внедряться сегодняшними темпами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удут усиленно внедряться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ольшое количесвто индивидуальных установок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62635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Замена устаревших генераторов ТЭЦ новыми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 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ыстро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о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2050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ода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замена всех генераторов, работающих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а ископаемых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топливах</a:t>
                      </a:r>
                      <a:endParaRPr lang="ru-RU" sz="12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3514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вышение энергоэффективности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ез изменений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птимизация системы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обеспечит сбережение энергии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охранение всей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изведенной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нергии путем тесной </a:t>
                      </a:r>
                      <a:r>
                        <a:rPr lang="ru-RU" sz="12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синергии секторов </a:t>
                      </a: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 технологий хранения энергии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417572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стойчивые здания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 появятся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значительная доля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Здания в большей степени устойчивы</a:t>
                      </a:r>
                    </a:p>
                  </a:txBody>
                  <a:tcPr marL="54251" marR="54251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7092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11560" y="2492897"/>
            <a:ext cx="7772400" cy="136207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100" dirty="0" smtClean="0">
                <a:solidFill>
                  <a:srgbClr val="C00000"/>
                </a:solidFill>
              </a:rPr>
              <a:t>Текущее состояние </a:t>
            </a:r>
            <a:r>
              <a:rPr lang="ru-RU" sz="4400" dirty="0" smtClean="0">
                <a:solidFill>
                  <a:srgbClr val="C00000"/>
                </a:solidFill>
              </a:rPr>
              <a:t>ПРОЕКТА</a:t>
            </a:r>
            <a:r>
              <a:rPr lang="ru-RU" sz="3100" dirty="0" smtClean="0">
                <a:solidFill>
                  <a:srgbClr val="C00000"/>
                </a:solidFill>
              </a:rPr>
              <a:t>:</a:t>
            </a:r>
            <a:br>
              <a:rPr lang="ru-RU" sz="3100" dirty="0" smtClean="0">
                <a:solidFill>
                  <a:srgbClr val="C00000"/>
                </a:solidFill>
              </a:rPr>
            </a:br>
            <a:r>
              <a:rPr lang="ru-RU" sz="3100" dirty="0" smtClean="0">
                <a:solidFill>
                  <a:srgbClr val="C00000"/>
                </a:solidFill>
              </a:rPr>
              <a:t>Что сделано? </a:t>
            </a:r>
            <a:br>
              <a:rPr lang="ru-RU" sz="3100" dirty="0" smtClean="0">
                <a:solidFill>
                  <a:srgbClr val="C00000"/>
                </a:solidFill>
              </a:rPr>
            </a:br>
            <a:r>
              <a:rPr lang="ru-RU" sz="3100" dirty="0" smtClean="0">
                <a:solidFill>
                  <a:srgbClr val="C00000"/>
                </a:solidFill>
              </a:rPr>
              <a:t>Что делается? </a:t>
            </a:r>
            <a:r>
              <a:rPr lang="ru-RU" dirty="0" smtClean="0">
                <a:solidFill>
                  <a:srgbClr val="0070C0"/>
                </a:solidFill>
              </a:rPr>
              <a:t/>
            </a:r>
            <a:br>
              <a:rPr lang="ru-RU" dirty="0" smtClean="0">
                <a:solidFill>
                  <a:srgbClr val="0070C0"/>
                </a:solidFill>
              </a:rPr>
            </a:br>
            <a:endParaRPr lang="ru-RU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712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706089"/>
          </a:xfrm>
        </p:spPr>
        <p:txBody>
          <a:bodyPr>
            <a:normAutofit/>
          </a:bodyPr>
          <a:lstStyle/>
          <a:p>
            <a:r>
              <a:rPr lang="ru-RU" sz="2000" b="1" dirty="0"/>
              <a:t>Ориентиры развития </a:t>
            </a:r>
            <a:r>
              <a:rPr lang="ru-RU" sz="2000" b="1" dirty="0">
                <a:solidFill>
                  <a:srgbClr val="C00000"/>
                </a:solidFill>
              </a:rPr>
              <a:t>транспортного сектора </a:t>
            </a:r>
            <a:r>
              <a:rPr lang="ru-RU" sz="2000" b="1" dirty="0"/>
              <a:t>в зависимости от мер внутренней политики (подлежит пересмотру и проверке)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4727700"/>
              </p:ext>
            </p:extLst>
          </p:nvPr>
        </p:nvGraphicFramePr>
        <p:xfrm>
          <a:off x="179510" y="1628800"/>
          <a:ext cx="8856985" cy="3929618"/>
        </p:xfrm>
        <a:graphic>
          <a:graphicData uri="http://schemas.openxmlformats.org/drawingml/2006/table">
            <a:tbl>
              <a:tblPr firstRow="1" firstCol="1" bandRow="1"/>
              <a:tblGrid>
                <a:gridCol w="2180590"/>
                <a:gridCol w="2092020"/>
                <a:gridCol w="2311673"/>
                <a:gridCol w="2272702"/>
              </a:tblGrid>
              <a:tr h="32771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Базовый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ая_Экономика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Нулевой_баланс_ПГ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</a:tr>
              <a:tr h="95656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ход на электро-транспор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значительный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силенные меры; расширение инфраструктруры по зарядке электромобилей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ереход большой доли гражданского транспорта на электодвигател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84438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спользование водорода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Частично для грузовиков </a:t>
                      </a:r>
                      <a:r>
                        <a:rPr lang="ru-RU" sz="14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и некоторых легковых коммерческих автомобилей</a:t>
                      </a:r>
                      <a:endParaRPr lang="ru-RU" sz="1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силенное использовани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4438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спользование </a:t>
                      </a:r>
                      <a:r>
                        <a:rPr lang="ru-RU" sz="1400" dirty="0" err="1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ио</a:t>
                      </a: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-топлива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едлагается как альтернативное топливо для всех видов транспорт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Широко используетс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95656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вышение энергоэффективност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е</a:t>
                      </a:r>
                      <a:endParaRPr lang="ru-RU" sz="14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Значительная замена существующего парка автомобильного транспорт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силенное перераспределение перевозок – переход на новые виды транспорт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2707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dirty="0"/>
              <a:t>Ориентиры успешности перехода </a:t>
            </a:r>
            <a:r>
              <a:rPr lang="ru-RU" sz="2000" b="1" dirty="0" smtClean="0">
                <a:solidFill>
                  <a:srgbClr val="C00000"/>
                </a:solidFill>
              </a:rPr>
              <a:t>обрабатывающей </a:t>
            </a:r>
            <a:r>
              <a:rPr lang="ru-RU" sz="2000" b="1" dirty="0">
                <a:solidFill>
                  <a:srgbClr val="C00000"/>
                </a:solidFill>
              </a:rPr>
              <a:t>промышленности </a:t>
            </a:r>
            <a:r>
              <a:rPr lang="ru-RU" sz="2000" b="1" dirty="0"/>
              <a:t>к </a:t>
            </a:r>
            <a:r>
              <a:rPr lang="ru-RU" sz="2000" b="1" dirty="0" err="1"/>
              <a:t>низкоуглеродному</a:t>
            </a:r>
            <a:r>
              <a:rPr lang="ru-RU" sz="2000" b="1" dirty="0"/>
              <a:t> развитию в зависимости от мер внутренней политики (подлежит пересмотру и проверке)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3910830"/>
              </p:ext>
            </p:extLst>
          </p:nvPr>
        </p:nvGraphicFramePr>
        <p:xfrm>
          <a:off x="179512" y="1700809"/>
          <a:ext cx="8712967" cy="4386859"/>
        </p:xfrm>
        <a:graphic>
          <a:graphicData uri="http://schemas.openxmlformats.org/drawingml/2006/table">
            <a:tbl>
              <a:tblPr firstRow="1" firstCol="1" bandRow="1"/>
              <a:tblGrid>
                <a:gridCol w="2362957"/>
                <a:gridCol w="1594473"/>
                <a:gridCol w="2127706"/>
                <a:gridCol w="2627831"/>
              </a:tblGrid>
              <a:tr h="25613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Базовый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Зеленая_Экономика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«Нулевой_баланс_ПГ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86B"/>
                    </a:solidFill>
                  </a:tcPr>
                </a:tc>
              </a:tr>
              <a:tr h="49842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лектрификация производственных процессов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значительная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сколько усиленная электрификация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Электрификация всех процессов, в которых она экономически оправдан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140803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спользование водорода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 металлургии, нефтеперерабатывающей </a:t>
                      </a: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ромышленности, </a:t>
                      </a: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 транспортировке и хранении природного </a:t>
                      </a: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газа</a:t>
                      </a:r>
                      <a:endParaRPr lang="ru-RU" sz="14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Широкое использование водорода в производственных процессах, особенно там, где это техлогоически и экономически выгоднее, чем переход на электроэнергию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Использование </a:t>
                      </a:r>
                      <a:r>
                        <a:rPr lang="ru-RU" sz="1400" dirty="0" err="1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биотоплива</a:t>
                      </a: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endParaRPr lang="ru-RU" sz="14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значительное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Широко используетс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122413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Повышение энергоэффективност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Медленное</a:t>
                      </a:r>
                      <a:endParaRPr lang="ru-RU" sz="1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Значительное повышение энергоэффективност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Достижение максимальной энергоэффективности путем использования самых эффективных имеющихся в наличии технологий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842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Внедрение промышленных процессов замкнутого цикл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</a:t>
                      </a:r>
                      <a:endParaRPr lang="ru-RU" sz="14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 smtClean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Нет </a:t>
                      </a:r>
                      <a:endParaRPr lang="ru-RU" sz="1400" dirty="0">
                        <a:solidFill>
                          <a:srgbClr val="FF0000"/>
                        </a:solidFill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ru-RU" sz="1400" dirty="0">
                          <a:solidFill>
                            <a:srgbClr val="FF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Умеренные меры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8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64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83568" y="2204864"/>
            <a:ext cx="7772400" cy="1362075"/>
          </a:xfrm>
        </p:spPr>
        <p:txBody>
          <a:bodyPr>
            <a:normAutofit/>
          </a:bodyPr>
          <a:lstStyle/>
          <a:p>
            <a:pPr algn="ctr"/>
            <a:r>
              <a:rPr lang="ru-RU" sz="2800" dirty="0" smtClean="0">
                <a:solidFill>
                  <a:srgbClr val="C00000"/>
                </a:solidFill>
              </a:rPr>
              <a:t>Как выбираются сектора для моделирования?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61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4"/>
          <p:cNvSpPr>
            <a:spLocks noGrp="1"/>
          </p:cNvSpPr>
          <p:nvPr>
            <p:ph idx="4294967295"/>
          </p:nvPr>
        </p:nvSpPr>
        <p:spPr>
          <a:xfrm>
            <a:off x="395536" y="1052736"/>
            <a:ext cx="8229600" cy="4525963"/>
          </a:xfrm>
        </p:spPr>
        <p:txBody>
          <a:bodyPr>
            <a:normAutofit/>
          </a:bodyPr>
          <a:lstStyle/>
          <a:p>
            <a:r>
              <a:rPr lang="ru-RU" sz="2000" dirty="0" smtClean="0"/>
              <a:t>В ходе разработки СНУР </a:t>
            </a:r>
            <a:r>
              <a:rPr lang="ru-RU" sz="2000" b="1" dirty="0" smtClean="0">
                <a:solidFill>
                  <a:srgbClr val="C00000"/>
                </a:solidFill>
              </a:rPr>
              <a:t>рассматриваются все сектора - источники выбросов ПГ. </a:t>
            </a:r>
          </a:p>
          <a:p>
            <a:r>
              <a:rPr lang="ru-RU" sz="2000" dirty="0" smtClean="0"/>
              <a:t>Внимание к секторам обусловливается величиной объемов выбросов. Чем больше выбросы, тем больше внимания. </a:t>
            </a:r>
          </a:p>
          <a:p>
            <a:r>
              <a:rPr lang="ru-RU" sz="2000" dirty="0" smtClean="0"/>
              <a:t>Среди них: производство электрической и тепловой энергии, промышленность (с особым фокусом на металлургию, цементную и стекольную промышленность (??? если будут все необходимые данные)), транспорт, здания (домохозяйства), сельское хозяйство, отходы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491388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39552" y="332656"/>
            <a:ext cx="8064896" cy="5419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АО «</a:t>
            </a:r>
            <a:r>
              <a:rPr lang="ru-RU" b="1" dirty="0" err="1">
                <a:solidFill>
                  <a:srgbClr val="C00000"/>
                </a:solidFill>
              </a:rPr>
              <a:t>Жасыл</a:t>
            </a:r>
            <a:r>
              <a:rPr lang="ru-RU" b="1" dirty="0">
                <a:solidFill>
                  <a:srgbClr val="C00000"/>
                </a:solidFill>
              </a:rPr>
              <a:t> </a:t>
            </a:r>
            <a:r>
              <a:rPr lang="ru-RU" b="1" dirty="0" smtClean="0">
                <a:solidFill>
                  <a:srgbClr val="C00000"/>
                </a:solidFill>
              </a:rPr>
              <a:t>даму»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ru-RU" b="1" dirty="0" smtClean="0">
                <a:solidFill>
                  <a:srgbClr val="C00000"/>
                </a:solidFill>
              </a:rPr>
              <a:t>приглашает </a:t>
            </a:r>
            <a:r>
              <a:rPr lang="ru-RU" b="1" dirty="0">
                <a:solidFill>
                  <a:srgbClr val="C00000"/>
                </a:solidFill>
              </a:rPr>
              <a:t>все заинтересованные стороны </a:t>
            </a:r>
            <a:r>
              <a:rPr lang="ru-RU" b="1" dirty="0" smtClean="0">
                <a:solidFill>
                  <a:srgbClr val="C00000"/>
                </a:solidFill>
              </a:rPr>
              <a:t>активно </a:t>
            </a:r>
            <a:r>
              <a:rPr lang="ru-RU" b="1" dirty="0">
                <a:solidFill>
                  <a:srgbClr val="C00000"/>
                </a:solidFill>
              </a:rPr>
              <a:t>вовлекаться </a:t>
            </a:r>
            <a:r>
              <a:rPr lang="ru-RU" b="1" dirty="0" smtClean="0">
                <a:solidFill>
                  <a:srgbClr val="C00000"/>
                </a:solidFill>
              </a:rPr>
              <a:t>в процесс </a:t>
            </a:r>
            <a:r>
              <a:rPr lang="ru-RU" b="1" dirty="0">
                <a:solidFill>
                  <a:srgbClr val="C00000"/>
                </a:solidFill>
              </a:rPr>
              <a:t>обсуждения </a:t>
            </a:r>
            <a:r>
              <a:rPr lang="ru-RU" b="1" dirty="0" smtClean="0">
                <a:solidFill>
                  <a:srgbClr val="C00000"/>
                </a:solidFill>
              </a:rPr>
              <a:t>и формирования единого стратегического видения </a:t>
            </a:r>
            <a:r>
              <a:rPr lang="ru-RU" b="1" dirty="0">
                <a:solidFill>
                  <a:srgbClr val="C00000"/>
                </a:solidFill>
              </a:rPr>
              <a:t>сценариев декарбонизации национальной экономики</a:t>
            </a:r>
            <a:r>
              <a:rPr lang="ru-RU" b="1" dirty="0" smtClean="0">
                <a:solidFill>
                  <a:srgbClr val="C00000"/>
                </a:solidFill>
              </a:rPr>
              <a:t>, </a:t>
            </a:r>
            <a:r>
              <a:rPr lang="ru-RU" b="1" dirty="0">
                <a:solidFill>
                  <a:srgbClr val="C00000"/>
                </a:solidFill>
              </a:rPr>
              <a:t>отраслевых политик и </a:t>
            </a:r>
            <a:r>
              <a:rPr lang="ru-RU" b="1" dirty="0" smtClean="0">
                <a:solidFill>
                  <a:srgbClr val="C00000"/>
                </a:solidFill>
              </a:rPr>
              <a:t>мер</a:t>
            </a:r>
            <a:r>
              <a:rPr lang="ru-RU" dirty="0" smtClean="0"/>
              <a:t>; 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ru-RU" dirty="0" smtClean="0"/>
              <a:t>просит </a:t>
            </a:r>
            <a:r>
              <a:rPr lang="ru-RU" dirty="0"/>
              <a:t>оказывать </a:t>
            </a:r>
            <a:r>
              <a:rPr lang="ru-RU" b="1" dirty="0">
                <a:solidFill>
                  <a:srgbClr val="C00000"/>
                </a:solidFill>
              </a:rPr>
              <a:t>помощь в сборе необходимых данных </a:t>
            </a:r>
            <a:r>
              <a:rPr lang="ru-RU" dirty="0"/>
              <a:t>для моделирования текущей ситуации в экономике и будущих сценариев декарбонизации национальной экономики</a:t>
            </a:r>
            <a:r>
              <a:rPr lang="ru-RU" dirty="0" smtClean="0"/>
              <a:t>.</a:t>
            </a:r>
          </a:p>
          <a:p>
            <a:pPr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</a:pPr>
            <a:r>
              <a:rPr lang="ru-RU" dirty="0">
                <a:ea typeface="Calibri"/>
                <a:cs typeface="Times New Roman"/>
              </a:rPr>
              <a:t>Пришлите ваши </a:t>
            </a:r>
            <a:r>
              <a:rPr lang="ru-RU" b="1" dirty="0">
                <a:solidFill>
                  <a:srgbClr val="C00000"/>
                </a:solidFill>
                <a:ea typeface="Calibri"/>
                <a:cs typeface="Times New Roman"/>
              </a:rPr>
              <a:t>критические замечания и конструктивные предложения</a:t>
            </a:r>
            <a:r>
              <a:rPr lang="ru-RU" dirty="0">
                <a:solidFill>
                  <a:srgbClr val="C00000"/>
                </a:solidFill>
                <a:ea typeface="Calibri"/>
                <a:cs typeface="Times New Roman"/>
              </a:rPr>
              <a:t> </a:t>
            </a:r>
            <a:r>
              <a:rPr lang="ru-RU" dirty="0">
                <a:ea typeface="Calibri"/>
                <a:cs typeface="Times New Roman"/>
              </a:rPr>
              <a:t>по описанным в первом </a:t>
            </a:r>
            <a:r>
              <a:rPr lang="ru-RU" dirty="0" err="1">
                <a:ea typeface="Calibri"/>
                <a:cs typeface="Times New Roman"/>
              </a:rPr>
              <a:t>драфте</a:t>
            </a:r>
            <a:r>
              <a:rPr lang="ru-RU" dirty="0">
                <a:ea typeface="Calibri"/>
                <a:cs typeface="Times New Roman"/>
              </a:rPr>
              <a:t> СНУР сценариям </a:t>
            </a:r>
            <a:r>
              <a:rPr lang="ru-RU" dirty="0" err="1">
                <a:ea typeface="Calibri"/>
                <a:cs typeface="Times New Roman"/>
              </a:rPr>
              <a:t>низкоуглеродного</a:t>
            </a:r>
            <a:r>
              <a:rPr lang="ru-RU" dirty="0">
                <a:ea typeface="Calibri"/>
                <a:cs typeface="Times New Roman"/>
              </a:rPr>
              <a:t> развития </a:t>
            </a:r>
            <a:r>
              <a:rPr lang="ru-RU" b="1" dirty="0">
                <a:solidFill>
                  <a:srgbClr val="C00000"/>
                </a:solidFill>
                <a:ea typeface="Calibri"/>
                <a:cs typeface="Times New Roman"/>
              </a:rPr>
              <a:t>до 30 апреля 2020 года на все указанные ниже электронные адреса</a:t>
            </a:r>
            <a:r>
              <a:rPr lang="ru-RU" dirty="0">
                <a:solidFill>
                  <a:srgbClr val="C00000"/>
                </a:solidFill>
                <a:ea typeface="Calibri"/>
                <a:cs typeface="Times New Roman"/>
              </a:rPr>
              <a:t>: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dirty="0" err="1">
                <a:solidFill>
                  <a:srgbClr val="333333"/>
                </a:solidFill>
                <a:ea typeface="Times New Roman"/>
              </a:rPr>
              <a:t>Гульмире</a:t>
            </a:r>
            <a:r>
              <a:rPr lang="ru-RU" dirty="0">
                <a:solidFill>
                  <a:srgbClr val="333333"/>
                </a:solidFill>
                <a:ea typeface="Times New Roman"/>
              </a:rPr>
              <a:t> </a:t>
            </a:r>
            <a:r>
              <a:rPr lang="ru-RU" dirty="0" err="1">
                <a:solidFill>
                  <a:srgbClr val="333333"/>
                </a:solidFill>
                <a:ea typeface="Times New Roman"/>
              </a:rPr>
              <a:t>Исмагуловой</a:t>
            </a:r>
            <a:r>
              <a:rPr lang="ru-RU" dirty="0">
                <a:solidFill>
                  <a:srgbClr val="333333"/>
                </a:solidFill>
                <a:ea typeface="Times New Roman"/>
              </a:rPr>
              <a:t> (</a:t>
            </a:r>
            <a:r>
              <a:rPr lang="ru-RU" u="sng" dirty="0">
                <a:solidFill>
                  <a:srgbClr val="333333"/>
                </a:solidFill>
                <a:ea typeface="Times New Roman"/>
              </a:rPr>
              <a:t>АО «</a:t>
            </a:r>
            <a:r>
              <a:rPr lang="ru-RU" u="sng" dirty="0" err="1">
                <a:solidFill>
                  <a:srgbClr val="333333"/>
                </a:solidFill>
                <a:ea typeface="Times New Roman"/>
              </a:rPr>
              <a:t>Жасыл</a:t>
            </a:r>
            <a:r>
              <a:rPr lang="ru-RU" u="sng" dirty="0">
                <a:solidFill>
                  <a:srgbClr val="333333"/>
                </a:solidFill>
                <a:ea typeface="Times New Roman"/>
              </a:rPr>
              <a:t> даму») </a:t>
            </a:r>
            <a:r>
              <a:rPr lang="en-US" u="sng" dirty="0" err="1">
                <a:solidFill>
                  <a:srgbClr val="0000FF"/>
                </a:solidFill>
                <a:ea typeface="Times New Roman"/>
                <a:hlinkClick r:id="rId2"/>
              </a:rPr>
              <a:t>gismagulova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2"/>
              </a:rPr>
              <a:t>@</a:t>
            </a:r>
            <a:r>
              <a:rPr lang="en-US" u="sng" dirty="0">
                <a:solidFill>
                  <a:srgbClr val="0000FF"/>
                </a:solidFill>
                <a:ea typeface="Times New Roman"/>
                <a:hlinkClick r:id="rId2"/>
              </a:rPr>
              <a:t>inbox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2"/>
              </a:rPr>
              <a:t>.</a:t>
            </a:r>
            <a:r>
              <a:rPr lang="en-US" u="sng" dirty="0" err="1" smtClean="0">
                <a:solidFill>
                  <a:srgbClr val="0000FF"/>
                </a:solidFill>
                <a:ea typeface="Times New Roman"/>
                <a:hlinkClick r:id="rId2"/>
              </a:rPr>
              <a:t>ru</a:t>
            </a:r>
            <a:r>
              <a:rPr lang="ru-RU" u="sng" dirty="0" smtClean="0">
                <a:solidFill>
                  <a:srgbClr val="0000FF"/>
                </a:solidFill>
                <a:ea typeface="Times New Roman"/>
              </a:rPr>
              <a:t> </a:t>
            </a:r>
            <a:endParaRPr lang="ru-RU" dirty="0">
              <a:ea typeface="Times New Roman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solidFill>
                  <a:srgbClr val="333333"/>
                </a:solidFill>
                <a:ea typeface="Times New Roman"/>
              </a:rPr>
              <a:t>Аиде Алиевой (Департамент климатической политики и зеленых технологий МЭГПР РК) 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3"/>
              </a:rPr>
              <a:t>a.alieva@ecogeo.gov.kz</a:t>
            </a:r>
            <a:endParaRPr lang="ru-RU" dirty="0">
              <a:ea typeface="Times New Roman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dirty="0" err="1">
                <a:solidFill>
                  <a:srgbClr val="333333"/>
                </a:solidFill>
                <a:ea typeface="Times New Roman"/>
              </a:rPr>
              <a:t>Мурзакуловой</a:t>
            </a:r>
            <a:r>
              <a:rPr lang="ru-RU" dirty="0">
                <a:solidFill>
                  <a:srgbClr val="333333"/>
                </a:solidFill>
                <a:ea typeface="Times New Roman"/>
              </a:rPr>
              <a:t> </a:t>
            </a:r>
            <a:r>
              <a:rPr lang="ru-RU" dirty="0" err="1">
                <a:solidFill>
                  <a:srgbClr val="333333"/>
                </a:solidFill>
                <a:ea typeface="Times New Roman"/>
              </a:rPr>
              <a:t>Жанат</a:t>
            </a:r>
            <a:r>
              <a:rPr lang="ru-RU" dirty="0">
                <a:solidFill>
                  <a:srgbClr val="333333"/>
                </a:solidFill>
                <a:ea typeface="Times New Roman"/>
              </a:rPr>
              <a:t> (GIZ) </a:t>
            </a:r>
            <a:r>
              <a:rPr lang="en-US" u="sng" dirty="0" err="1">
                <a:solidFill>
                  <a:srgbClr val="0000FF"/>
                </a:solidFill>
                <a:ea typeface="Times New Roman"/>
                <a:hlinkClick r:id="rId4"/>
              </a:rPr>
              <a:t>zhanat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4"/>
              </a:rPr>
              <a:t>.</a:t>
            </a:r>
            <a:r>
              <a:rPr lang="en-US" u="sng" dirty="0" err="1">
                <a:solidFill>
                  <a:srgbClr val="0000FF"/>
                </a:solidFill>
                <a:ea typeface="Times New Roman"/>
                <a:hlinkClick r:id="rId4"/>
              </a:rPr>
              <a:t>murzakulova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4"/>
              </a:rPr>
              <a:t>@</a:t>
            </a:r>
            <a:r>
              <a:rPr lang="en-US" u="sng" dirty="0" err="1">
                <a:solidFill>
                  <a:srgbClr val="0000FF"/>
                </a:solidFill>
                <a:ea typeface="Times New Roman"/>
                <a:hlinkClick r:id="rId4"/>
              </a:rPr>
              <a:t>giz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4"/>
              </a:rPr>
              <a:t>.</a:t>
            </a:r>
            <a:r>
              <a:rPr lang="en-US" u="sng" dirty="0" smtClean="0">
                <a:solidFill>
                  <a:srgbClr val="0000FF"/>
                </a:solidFill>
                <a:ea typeface="Times New Roman"/>
                <a:hlinkClick r:id="rId4"/>
              </a:rPr>
              <a:t>de</a:t>
            </a:r>
            <a:r>
              <a:rPr lang="ru-RU" u="sng" dirty="0" smtClean="0">
                <a:solidFill>
                  <a:srgbClr val="0000FF"/>
                </a:solidFill>
                <a:ea typeface="Times New Roman"/>
              </a:rPr>
              <a:t> </a:t>
            </a:r>
            <a:endParaRPr lang="ru-RU" dirty="0">
              <a:ea typeface="Times New Roman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ru-RU" dirty="0" err="1">
                <a:solidFill>
                  <a:srgbClr val="333333"/>
                </a:solidFill>
                <a:ea typeface="Times New Roman"/>
              </a:rPr>
              <a:t>Йоханнесу</a:t>
            </a:r>
            <a:r>
              <a:rPr lang="ru-RU" dirty="0">
                <a:solidFill>
                  <a:srgbClr val="333333"/>
                </a:solidFill>
                <a:ea typeface="Times New Roman"/>
              </a:rPr>
              <a:t> </a:t>
            </a:r>
            <a:r>
              <a:rPr lang="ru-RU" dirty="0" err="1">
                <a:solidFill>
                  <a:srgbClr val="333333"/>
                </a:solidFill>
                <a:ea typeface="Times New Roman"/>
              </a:rPr>
              <a:t>Шуманну</a:t>
            </a:r>
            <a:r>
              <a:rPr lang="ru-RU" dirty="0">
                <a:solidFill>
                  <a:srgbClr val="333333"/>
                </a:solidFill>
                <a:ea typeface="Times New Roman"/>
              </a:rPr>
              <a:t> (GIZ) </a:t>
            </a:r>
            <a:r>
              <a:rPr lang="en-US" u="sng" dirty="0">
                <a:solidFill>
                  <a:srgbClr val="0000FF"/>
                </a:solidFill>
                <a:ea typeface="Times New Roman"/>
                <a:hlinkClick r:id="rId5"/>
              </a:rPr>
              <a:t>Johannes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5"/>
              </a:rPr>
              <a:t>.</a:t>
            </a:r>
            <a:r>
              <a:rPr lang="en-US" u="sng" dirty="0" err="1">
                <a:solidFill>
                  <a:srgbClr val="0000FF"/>
                </a:solidFill>
                <a:ea typeface="Times New Roman"/>
                <a:hlinkClick r:id="rId5"/>
              </a:rPr>
              <a:t>schumann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5"/>
              </a:rPr>
              <a:t>@</a:t>
            </a:r>
            <a:r>
              <a:rPr lang="en-US" u="sng" dirty="0" err="1">
                <a:solidFill>
                  <a:srgbClr val="0000FF"/>
                </a:solidFill>
                <a:ea typeface="Times New Roman"/>
                <a:hlinkClick r:id="rId5"/>
              </a:rPr>
              <a:t>giz</a:t>
            </a:r>
            <a:r>
              <a:rPr lang="ru-RU" u="sng" dirty="0">
                <a:solidFill>
                  <a:srgbClr val="0000FF"/>
                </a:solidFill>
                <a:ea typeface="Times New Roman"/>
                <a:hlinkClick r:id="rId5"/>
              </a:rPr>
              <a:t>.</a:t>
            </a:r>
            <a:r>
              <a:rPr lang="en-US" u="sng" dirty="0">
                <a:solidFill>
                  <a:srgbClr val="0000FF"/>
                </a:solidFill>
                <a:ea typeface="Times New Roman"/>
                <a:hlinkClick r:id="rId5"/>
              </a:rPr>
              <a:t>de</a:t>
            </a:r>
            <a:r>
              <a:rPr lang="en-US" dirty="0">
                <a:solidFill>
                  <a:srgbClr val="333333"/>
                </a:solidFill>
                <a:ea typeface="Times New Roman"/>
              </a:rPr>
              <a:t> </a:t>
            </a:r>
            <a:endParaRPr lang="ru-RU" dirty="0">
              <a:ea typeface="Times New Roman"/>
            </a:endParaRPr>
          </a:p>
          <a:p>
            <a:pPr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</a:pPr>
            <a:r>
              <a:rPr lang="ru-RU" dirty="0">
                <a:ea typeface="Calibri"/>
                <a:cs typeface="Times New Roman"/>
              </a:rPr>
              <a:t>При отправлении замечаний и предложений просим давать полную информацию о себе (ФИО, </a:t>
            </a:r>
            <a:r>
              <a:rPr lang="ru-RU" dirty="0" smtClean="0">
                <a:ea typeface="Calibri"/>
                <a:cs typeface="Times New Roman"/>
              </a:rPr>
              <a:t>организация</a:t>
            </a:r>
            <a:r>
              <a:rPr lang="ru-RU" smtClean="0">
                <a:ea typeface="Calibri"/>
                <a:cs typeface="Times New Roman"/>
              </a:rPr>
              <a:t>, занимаемая </a:t>
            </a:r>
            <a:r>
              <a:rPr lang="ru-RU" dirty="0">
                <a:ea typeface="Calibri"/>
                <a:cs typeface="Times New Roman"/>
              </a:rPr>
              <a:t>должность).</a:t>
            </a:r>
          </a:p>
        </p:txBody>
      </p:sp>
    </p:spTree>
    <p:extLst>
      <p:ext uri="{BB962C8B-B14F-4D97-AF65-F5344CB8AC3E}">
        <p14:creationId xmlns:p14="http://schemas.microsoft.com/office/powerpoint/2010/main" val="14323558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ectangle 35">
            <a:extLst>
              <a:ext uri="{FF2B5EF4-FFF2-40B4-BE49-F238E27FC236}">
                <a16:creationId xmlns:a16="http://schemas.microsoft.com/office/drawing/2014/main" xmlns="" id="{4CD598D8-C97F-44C1-943A-DE3611B5034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312344" y="4816515"/>
            <a:ext cx="2520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 dirty="0">
              <a:solidFill>
                <a:srgbClr val="000000"/>
              </a:solidFill>
            </a:endParaRPr>
          </a:p>
        </p:txBody>
      </p:sp>
      <p:sp>
        <p:nvSpPr>
          <p:cNvPr id="101" name="Rectangle 51">
            <a:extLst>
              <a:ext uri="{FF2B5EF4-FFF2-40B4-BE49-F238E27FC236}">
                <a16:creationId xmlns:a16="http://schemas.microsoft.com/office/drawing/2014/main" xmlns="" id="{19300481-EFBE-4E77-A1D6-CECEE23E955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038674" y="2043460"/>
            <a:ext cx="1368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155" name="Rectangle 29">
            <a:extLst>
              <a:ext uri="{FF2B5EF4-FFF2-40B4-BE49-F238E27FC236}">
                <a16:creationId xmlns:a16="http://schemas.microsoft.com/office/drawing/2014/main" xmlns="" id="{E46E4AD7-736A-442E-9EFC-54164085BFE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639648" y="3859941"/>
            <a:ext cx="1512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 dirty="0">
              <a:solidFill>
                <a:srgbClr val="000000"/>
              </a:solidFill>
            </a:endParaRPr>
          </a:p>
        </p:txBody>
      </p:sp>
      <p:sp>
        <p:nvSpPr>
          <p:cNvPr id="157" name="Rectangle 51">
            <a:extLst>
              <a:ext uri="{FF2B5EF4-FFF2-40B4-BE49-F238E27FC236}">
                <a16:creationId xmlns:a16="http://schemas.microsoft.com/office/drawing/2014/main" xmlns="" id="{7D21A0A9-953B-475E-AC80-D994CCEB95F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154034" y="5198040"/>
            <a:ext cx="684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82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356302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45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115185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46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788681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47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511270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48" name="Rectangle 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249788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49" name="Rectangle 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922824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50" name="Rectangle 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715687" y="1245167"/>
            <a:ext cx="680232" cy="2438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02" name="Rectangle 2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889781" y="2996593"/>
            <a:ext cx="3240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 dirty="0">
              <a:solidFill>
                <a:srgbClr val="000000"/>
              </a:solidFill>
            </a:endParaRPr>
          </a:p>
        </p:txBody>
      </p:sp>
      <p:sp>
        <p:nvSpPr>
          <p:cNvPr id="117" name="Rectangle 51">
            <a:extLst>
              <a:ext uri="{FF2B5EF4-FFF2-40B4-BE49-F238E27FC236}">
                <a16:creationId xmlns:a16="http://schemas.microsoft.com/office/drawing/2014/main" xmlns="" id="{A06DA08E-1237-4442-BE13-B905F610ED16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413523" y="2552543"/>
            <a:ext cx="2880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108" name="Rectangle 35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895341" y="3428705"/>
            <a:ext cx="1728000" cy="288000"/>
          </a:xfrm>
          <a:prstGeom prst="rect">
            <a:avLst/>
          </a:prstGeom>
          <a:solidFill>
            <a:schemeClr val="accent1"/>
          </a:solidFill>
          <a:ln w="9525" algn="ctr">
            <a:solidFill>
              <a:srgbClr val="C00000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 dirty="0">
              <a:solidFill>
                <a:srgbClr val="000000"/>
              </a:solidFill>
            </a:endParaRPr>
          </a:p>
        </p:txBody>
      </p:sp>
      <p:sp>
        <p:nvSpPr>
          <p:cNvPr id="74" name="Rectangle 51">
            <a:extLst>
              <a:ext uri="{FF2B5EF4-FFF2-40B4-BE49-F238E27FC236}">
                <a16:creationId xmlns:a16="http://schemas.microsoft.com/office/drawing/2014/main" xmlns="" id="{12FBB0C8-DE6B-4AF7-A4C3-9BFC975019BF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3422746" y="4281472"/>
            <a:ext cx="1078239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87" name="Rectangle 51">
            <a:extLst>
              <a:ext uri="{FF2B5EF4-FFF2-40B4-BE49-F238E27FC236}">
                <a16:creationId xmlns:a16="http://schemas.microsoft.com/office/drawing/2014/main" xmlns="" id="{EC305BBE-5338-4F4E-A26B-A7EEBD866DA6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313615" y="4281472"/>
            <a:ext cx="324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103" name="Rectangle 51">
            <a:extLst>
              <a:ext uri="{FF2B5EF4-FFF2-40B4-BE49-F238E27FC236}">
                <a16:creationId xmlns:a16="http://schemas.microsoft.com/office/drawing/2014/main" xmlns="" id="{DD2A11F5-074F-46F5-AA80-86CEBF30C067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588085" y="4281472"/>
            <a:ext cx="324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109" name="Rectangle 51">
            <a:extLst>
              <a:ext uri="{FF2B5EF4-FFF2-40B4-BE49-F238E27FC236}">
                <a16:creationId xmlns:a16="http://schemas.microsoft.com/office/drawing/2014/main" xmlns="" id="{57AD7CFF-5FFC-4C10-A9FD-F3BA44FED401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7038047" y="4281472"/>
            <a:ext cx="360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 dirty="0">
              <a:solidFill>
                <a:srgbClr val="000000"/>
              </a:solidFill>
            </a:endParaRPr>
          </a:p>
        </p:txBody>
      </p:sp>
      <p:sp>
        <p:nvSpPr>
          <p:cNvPr id="113" name="Rectangle 51">
            <a:extLst>
              <a:ext uri="{FF2B5EF4-FFF2-40B4-BE49-F238E27FC236}">
                <a16:creationId xmlns:a16="http://schemas.microsoft.com/office/drawing/2014/main" xmlns="" id="{746D6E0F-F0E0-4409-B7FC-E320151A173A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8509067" y="4281472"/>
            <a:ext cx="324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  <p:sp>
        <p:nvSpPr>
          <p:cNvPr id="75" name="Rectangle 2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32250" y="1947067"/>
            <a:ext cx="2000305" cy="3636000"/>
          </a:xfrm>
          <a:prstGeom prst="rect">
            <a:avLst/>
          </a:prstGeom>
          <a:noFill/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tIns="91440" rIns="0" bIns="91440"/>
          <a:lstStyle/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Подготовка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разработки стратегии</a:t>
            </a: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Определение стратегического видения</a:t>
            </a:r>
            <a:endParaRPr lang="en-US" sz="1200" dirty="0">
              <a:solidFill>
                <a:srgbClr val="000000"/>
              </a:solidFill>
            </a:endParaRP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Разработка сценариев</a:t>
            </a:r>
            <a:endParaRPr lang="en-US" sz="1200" dirty="0">
              <a:solidFill>
                <a:srgbClr val="000000"/>
              </a:solidFill>
            </a:endParaRP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Разработка модели</a:t>
            </a: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Моделирование сценариев </a:t>
            </a: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Вовлечение </a:t>
            </a:r>
            <a:r>
              <a:rPr lang="ru-RU" sz="1200" dirty="0" err="1">
                <a:solidFill>
                  <a:srgbClr val="000000"/>
                </a:solidFill>
              </a:rPr>
              <a:t>заинте-ресованных</a:t>
            </a:r>
            <a:r>
              <a:rPr lang="ru-RU" sz="1200" dirty="0">
                <a:solidFill>
                  <a:srgbClr val="000000"/>
                </a:solidFill>
              </a:rPr>
              <a:t> сторон</a:t>
            </a: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Анализ потенциальных экономических структур</a:t>
            </a:r>
            <a:endParaRPr lang="en-US" sz="1200" dirty="0">
              <a:solidFill>
                <a:srgbClr val="000000"/>
              </a:solidFill>
            </a:endParaRPr>
          </a:p>
          <a:p>
            <a:pPr indent="-342900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6E6452"/>
              </a:buClr>
            </a:pPr>
            <a:r>
              <a:rPr lang="ru-RU" sz="1200" dirty="0">
                <a:solidFill>
                  <a:srgbClr val="000000"/>
                </a:solidFill>
              </a:rPr>
              <a:t>Свод стратегии</a:t>
            </a:r>
          </a:p>
          <a:p>
            <a:pPr indent="-342900" eaLnBrk="0" fontAlgn="base" hangingPunct="0">
              <a:spcBef>
                <a:spcPct val="0"/>
              </a:spcBef>
              <a:spcAft>
                <a:spcPts val="800"/>
              </a:spcAft>
              <a:buClr>
                <a:srgbClr val="6E6452"/>
              </a:buClr>
            </a:pPr>
            <a:endParaRPr lang="en-US" sz="1400" dirty="0">
              <a:solidFill>
                <a:srgbClr val="000000"/>
              </a:solidFill>
            </a:endParaRPr>
          </a:p>
          <a:p>
            <a:pPr indent="-342900" eaLnBrk="0" fontAlgn="base" hangingPunct="0">
              <a:spcBef>
                <a:spcPct val="0"/>
              </a:spcBef>
              <a:spcAft>
                <a:spcPts val="800"/>
              </a:spcAft>
              <a:buClr>
                <a:srgbClr val="6E6452"/>
              </a:buClr>
            </a:pP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77" name="Rectangle 4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379767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Июн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78" name="Line 5"/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>
            <a:off x="84769" y="5584201"/>
            <a:ext cx="8625909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79" name="Rectangle 6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84769" y="1472604"/>
            <a:ext cx="2271535" cy="5061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Мероприятия</a:t>
            </a:r>
            <a:r>
              <a:rPr lang="en-US" altLang="ko-KR" sz="1200" b="1" dirty="0">
                <a:solidFill>
                  <a:srgbClr val="000000"/>
                </a:solidFill>
                <a:ea typeface="Gulim" pitchFamily="34" charset="-127"/>
              </a:rPr>
              <a:t>      </a:t>
            </a:r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 Месяц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80" name="Line 7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 flipV="1">
            <a:off x="110806" y="1656657"/>
            <a:ext cx="8625909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81" name="Line 8"/>
          <p:cNvSpPr>
            <a:spLocks noChangeShapeType="1"/>
          </p:cNvSpPr>
          <p:nvPr>
            <p:custDataLst>
              <p:tags r:id="rId25"/>
            </p:custDataLst>
          </p:nvPr>
        </p:nvSpPr>
        <p:spPr bwMode="gray">
          <a:xfrm>
            <a:off x="84769" y="1937340"/>
            <a:ext cx="8625909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83" name="Rectangle 10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740812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Июл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84" name="Rectangle 11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3101857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Авг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85" name="Rectangle 1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3462901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Сен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86" name="Rectangle 1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3823944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Окт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88" name="Rectangle 15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184989" y="1666874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Ноя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89" name="Rectangle 16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546035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Дек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0" name="Rectangle 17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4907079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Янв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2" name="Rectangle 19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5268124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Фев</a:t>
            </a: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	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3" name="Rectangle 20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5629167" y="1666874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Мар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4" name="Rectangle 21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5990212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Апр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5" name="Rectangle 22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6351257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Май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6" name="Rectangle 23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6712302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Июн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7" name="Rectangle 24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7073345" y="1666874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Июл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8" name="Rectangle 25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7393253" y="1670462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28" name="Line 5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>
            <a:off x="3051144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29" name="Line 5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>
            <a:off x="2689208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0" name="Line 59"/>
          <p:cNvSpPr>
            <a:spLocks noChangeShapeType="1"/>
          </p:cNvSpPr>
          <p:nvPr>
            <p:custDataLst>
              <p:tags r:id="rId42"/>
            </p:custDataLst>
          </p:nvPr>
        </p:nvSpPr>
        <p:spPr bwMode="auto">
          <a:xfrm>
            <a:off x="3405411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1" name="Line 60"/>
          <p:cNvSpPr>
            <a:spLocks noChangeShapeType="1"/>
          </p:cNvSpPr>
          <p:nvPr>
            <p:custDataLst>
              <p:tags r:id="rId43"/>
            </p:custDataLst>
          </p:nvPr>
        </p:nvSpPr>
        <p:spPr bwMode="auto">
          <a:xfrm>
            <a:off x="4511270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2" name="Line 61"/>
          <p:cNvSpPr>
            <a:spLocks noChangeShapeType="1"/>
          </p:cNvSpPr>
          <p:nvPr>
            <p:custDataLst>
              <p:tags r:id="rId44"/>
            </p:custDataLst>
          </p:nvPr>
        </p:nvSpPr>
        <p:spPr bwMode="auto">
          <a:xfrm>
            <a:off x="4138560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3" name="Line 62"/>
          <p:cNvSpPr>
            <a:spLocks noChangeShapeType="1"/>
          </p:cNvSpPr>
          <p:nvPr>
            <p:custDataLst>
              <p:tags r:id="rId45"/>
            </p:custDataLst>
          </p:nvPr>
        </p:nvSpPr>
        <p:spPr bwMode="auto">
          <a:xfrm>
            <a:off x="4876311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4" name="Line 63"/>
          <p:cNvSpPr>
            <a:spLocks noChangeShapeType="1"/>
          </p:cNvSpPr>
          <p:nvPr>
            <p:custDataLst>
              <p:tags r:id="rId46"/>
            </p:custDataLst>
          </p:nvPr>
        </p:nvSpPr>
        <p:spPr bwMode="auto">
          <a:xfrm>
            <a:off x="5937690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5" name="Line 64"/>
          <p:cNvSpPr>
            <a:spLocks noChangeShapeType="1"/>
          </p:cNvSpPr>
          <p:nvPr>
            <p:custDataLst>
              <p:tags r:id="rId47"/>
            </p:custDataLst>
          </p:nvPr>
        </p:nvSpPr>
        <p:spPr bwMode="auto">
          <a:xfrm>
            <a:off x="5564980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 dirty="0">
              <a:solidFill>
                <a:srgbClr val="999999"/>
              </a:solidFill>
            </a:endParaRPr>
          </a:p>
        </p:txBody>
      </p:sp>
      <p:sp>
        <p:nvSpPr>
          <p:cNvPr id="136" name="Line 65"/>
          <p:cNvSpPr>
            <a:spLocks noChangeShapeType="1"/>
          </p:cNvSpPr>
          <p:nvPr>
            <p:custDataLst>
              <p:tags r:id="rId48"/>
            </p:custDataLst>
          </p:nvPr>
        </p:nvSpPr>
        <p:spPr bwMode="auto">
          <a:xfrm>
            <a:off x="6302731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7" name="Line 66"/>
          <p:cNvSpPr>
            <a:spLocks noChangeShapeType="1"/>
          </p:cNvSpPr>
          <p:nvPr>
            <p:custDataLst>
              <p:tags r:id="rId49"/>
            </p:custDataLst>
          </p:nvPr>
        </p:nvSpPr>
        <p:spPr bwMode="auto">
          <a:xfrm>
            <a:off x="6635561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8" name="Line 67"/>
          <p:cNvSpPr>
            <a:spLocks noChangeShapeType="1"/>
          </p:cNvSpPr>
          <p:nvPr>
            <p:custDataLst>
              <p:tags r:id="rId50"/>
            </p:custDataLst>
          </p:nvPr>
        </p:nvSpPr>
        <p:spPr bwMode="auto">
          <a:xfrm>
            <a:off x="7400921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39" name="Line 68"/>
          <p:cNvSpPr>
            <a:spLocks noChangeShapeType="1"/>
          </p:cNvSpPr>
          <p:nvPr>
            <p:custDataLst>
              <p:tags r:id="rId51"/>
            </p:custDataLst>
          </p:nvPr>
        </p:nvSpPr>
        <p:spPr bwMode="auto">
          <a:xfrm>
            <a:off x="7028210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40" name="Line 69"/>
          <p:cNvSpPr>
            <a:spLocks noChangeShapeType="1"/>
          </p:cNvSpPr>
          <p:nvPr>
            <p:custDataLst>
              <p:tags r:id="rId52"/>
            </p:custDataLst>
          </p:nvPr>
        </p:nvSpPr>
        <p:spPr bwMode="auto">
          <a:xfrm>
            <a:off x="7765961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42" name="Line 71"/>
          <p:cNvSpPr>
            <a:spLocks noChangeShapeType="1"/>
          </p:cNvSpPr>
          <p:nvPr>
            <p:custDataLst>
              <p:tags r:id="rId53"/>
            </p:custDataLst>
          </p:nvPr>
        </p:nvSpPr>
        <p:spPr bwMode="auto">
          <a:xfrm>
            <a:off x="3776587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 dirty="0">
              <a:solidFill>
                <a:srgbClr val="999999"/>
              </a:solidFill>
            </a:endParaRPr>
          </a:p>
        </p:txBody>
      </p:sp>
      <p:sp>
        <p:nvSpPr>
          <p:cNvPr id="143" name="Line 72"/>
          <p:cNvSpPr>
            <a:spLocks noChangeShapeType="1"/>
          </p:cNvSpPr>
          <p:nvPr>
            <p:custDataLst>
              <p:tags r:id="rId54"/>
            </p:custDataLst>
          </p:nvPr>
        </p:nvSpPr>
        <p:spPr bwMode="auto">
          <a:xfrm>
            <a:off x="2026914" y="1672855"/>
            <a:ext cx="0" cy="378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44" name="Line 73"/>
          <p:cNvSpPr>
            <a:spLocks noChangeShapeType="1"/>
          </p:cNvSpPr>
          <p:nvPr>
            <p:custDataLst>
              <p:tags r:id="rId55"/>
            </p:custDataLst>
          </p:nvPr>
        </p:nvSpPr>
        <p:spPr bwMode="auto">
          <a:xfrm>
            <a:off x="5227547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69" name="Rectangle 9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6371498" y="1454572"/>
            <a:ext cx="680232" cy="2217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srgbClr val="000000"/>
                </a:solidFill>
                <a:ea typeface="Gulim" pitchFamily="34" charset="-127"/>
              </a:rPr>
              <a:t>2020</a:t>
            </a:r>
          </a:p>
        </p:txBody>
      </p:sp>
      <p:sp>
        <p:nvSpPr>
          <p:cNvPr id="70" name="Rectangle 9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3302507" y="1443800"/>
            <a:ext cx="680232" cy="2217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srgbClr val="000000"/>
                </a:solidFill>
                <a:ea typeface="Gulim" pitchFamily="34" charset="-127"/>
              </a:rPr>
              <a:t>2019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A9C72ADB-D1C5-49D7-AE2C-A5E427F62706}"/>
              </a:ext>
            </a:extLst>
          </p:cNvPr>
          <p:cNvGrpSpPr/>
          <p:nvPr/>
        </p:nvGrpSpPr>
        <p:grpSpPr>
          <a:xfrm>
            <a:off x="5019270" y="5645937"/>
            <a:ext cx="1188000" cy="421483"/>
            <a:chOff x="5019270" y="5752945"/>
            <a:chExt cx="1188000" cy="421483"/>
          </a:xfrm>
        </p:grpSpPr>
        <p:sp>
          <p:nvSpPr>
            <p:cNvPr id="119" name="AutoShape 46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5548122" y="5752945"/>
              <a:ext cx="141108" cy="14724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l-GR" sz="1200" b="1">
                <a:solidFill>
                  <a:srgbClr val="FFFFFF"/>
                </a:solidFill>
              </a:endParaRPr>
            </a:p>
          </p:txBody>
        </p:sp>
        <p:sp>
          <p:nvSpPr>
            <p:cNvPr id="73" name="Rectangle 47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5019270" y="5920180"/>
              <a:ext cx="1188000" cy="25424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tIns="91440" bIns="9144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6E6452"/>
                </a:buClr>
              </a:pPr>
              <a:r>
                <a:rPr lang="ru-RU" altLang="ko-KR" sz="900" b="1" dirty="0">
                  <a:solidFill>
                    <a:srgbClr val="000000"/>
                  </a:solidFill>
                  <a:ea typeface="Gulim" pitchFamily="34" charset="-127"/>
                </a:rPr>
                <a:t>Отчет о целях и путях трансформации</a:t>
              </a:r>
              <a:endParaRPr lang="en-US" altLang="ko-KR" sz="900" b="1" dirty="0">
                <a:solidFill>
                  <a:srgbClr val="000000"/>
                </a:solidFill>
                <a:ea typeface="Gulim" pitchFamily="34" charset="-127"/>
              </a:endParaRP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6E6452"/>
                </a:buClr>
              </a:pPr>
              <a:endParaRPr lang="en-US" altLang="ko-KR" sz="900" b="1" dirty="0">
                <a:solidFill>
                  <a:srgbClr val="000000"/>
                </a:solidFill>
                <a:ea typeface="Gulim" pitchFamily="34" charset="-127"/>
              </a:endParaRP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8CB70ADC-6732-49F9-A388-4F734600066B}"/>
              </a:ext>
            </a:extLst>
          </p:cNvPr>
          <p:cNvGrpSpPr/>
          <p:nvPr/>
        </p:nvGrpSpPr>
        <p:grpSpPr>
          <a:xfrm>
            <a:off x="8379036" y="5634785"/>
            <a:ext cx="828000" cy="868675"/>
            <a:chOff x="8379036" y="5741794"/>
            <a:chExt cx="828000" cy="868674"/>
          </a:xfrm>
        </p:grpSpPr>
        <p:sp>
          <p:nvSpPr>
            <p:cNvPr id="120" name="Rectangle 47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8379036" y="5917010"/>
              <a:ext cx="828000" cy="69345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tIns="91440" bIns="9144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6E6452"/>
                </a:buClr>
              </a:pPr>
              <a:r>
                <a:rPr lang="ru-RU" altLang="ko-KR" sz="900" b="1" dirty="0">
                  <a:solidFill>
                    <a:srgbClr val="000000"/>
                  </a:solidFill>
                  <a:ea typeface="Gulim" pitchFamily="34" charset="-127"/>
                </a:rPr>
                <a:t>Стратегия передана</a:t>
              </a:r>
              <a:endParaRPr lang="en-US" altLang="ko-KR" sz="900" b="1" dirty="0">
                <a:solidFill>
                  <a:srgbClr val="000000"/>
                </a:solidFill>
                <a:ea typeface="Gulim" pitchFamily="34" charset="-127"/>
              </a:endParaRPr>
            </a:p>
          </p:txBody>
        </p:sp>
        <p:sp>
          <p:nvSpPr>
            <p:cNvPr id="125" name="AutoShape 46">
              <a:extLst>
                <a:ext uri="{FF2B5EF4-FFF2-40B4-BE49-F238E27FC236}">
                  <a16:creationId xmlns:a16="http://schemas.microsoft.com/office/drawing/2014/main" xmlns="" id="{9564EF29-05A4-4B39-AE39-9F79BB4FBC90}"/>
                </a:ext>
              </a:extLst>
            </p:cNvPr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8775001" y="5741794"/>
              <a:ext cx="141108" cy="14724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l-GR" sz="1200" b="1">
                <a:solidFill>
                  <a:srgbClr val="FFFFFF"/>
                </a:solidFill>
              </a:endParaRPr>
            </a:p>
          </p:txBody>
        </p:sp>
      </p:grpSp>
      <p:sp>
        <p:nvSpPr>
          <p:cNvPr id="127" name="Rectangle 24">
            <a:extLst>
              <a:ext uri="{FF2B5EF4-FFF2-40B4-BE49-F238E27FC236}">
                <a16:creationId xmlns:a16="http://schemas.microsoft.com/office/drawing/2014/main" xmlns="" id="{85F3372C-D623-4D2E-B1EB-B5F8B53D669C}"/>
              </a:ext>
            </a:extLst>
          </p:cNvPr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7434388" y="1670462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Авг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51" name="Rectangle 4">
            <a:extLst>
              <a:ext uri="{FF2B5EF4-FFF2-40B4-BE49-F238E27FC236}">
                <a16:creationId xmlns:a16="http://schemas.microsoft.com/office/drawing/2014/main" xmlns="" id="{8ADC05C4-F638-4EFB-89BF-2BBCCCF2078B}"/>
              </a:ext>
            </a:extLst>
          </p:cNvPr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2018722" y="1666874"/>
            <a:ext cx="311359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Май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54" name="Line 57">
            <a:extLst>
              <a:ext uri="{FF2B5EF4-FFF2-40B4-BE49-F238E27FC236}">
                <a16:creationId xmlns:a16="http://schemas.microsoft.com/office/drawing/2014/main" xmlns="" id="{358A9308-023C-4ED0-BFB1-8CEBD1A24843}"/>
              </a:ext>
            </a:extLst>
          </p:cNvPr>
          <p:cNvSpPr>
            <a:spLocks noChangeShapeType="1"/>
          </p:cNvSpPr>
          <p:nvPr>
            <p:custDataLst>
              <p:tags r:id="rId60"/>
            </p:custDataLst>
          </p:nvPr>
        </p:nvSpPr>
        <p:spPr bwMode="auto">
          <a:xfrm>
            <a:off x="2347247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91" name="Rectangle 24">
            <a:extLst>
              <a:ext uri="{FF2B5EF4-FFF2-40B4-BE49-F238E27FC236}">
                <a16:creationId xmlns:a16="http://schemas.microsoft.com/office/drawing/2014/main" xmlns="" id="{A2ED129F-B41C-46B9-897C-9CF86D316C9F}"/>
              </a:ext>
            </a:extLst>
          </p:cNvPr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7795432" y="1666874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Сен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99" name="Rectangle 24">
            <a:extLst>
              <a:ext uri="{FF2B5EF4-FFF2-40B4-BE49-F238E27FC236}">
                <a16:creationId xmlns:a16="http://schemas.microsoft.com/office/drawing/2014/main" xmlns="" id="{10128FE0-BF4B-4D6E-9209-EED7369FA297}"/>
              </a:ext>
            </a:extLst>
          </p:cNvPr>
          <p:cNvSpPr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8156476" y="1666874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ko-KR" sz="1000" b="1" dirty="0" err="1">
                <a:solidFill>
                  <a:srgbClr val="000000"/>
                </a:solidFill>
                <a:ea typeface="Gulim" pitchFamily="34" charset="-127"/>
              </a:rPr>
              <a:t>Окт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04" name="Rectangle 24">
            <a:extLst>
              <a:ext uri="{FF2B5EF4-FFF2-40B4-BE49-F238E27FC236}">
                <a16:creationId xmlns:a16="http://schemas.microsoft.com/office/drawing/2014/main" xmlns="" id="{6DEE9E0E-A5F9-4659-A2C4-128C25B9AD37}"/>
              </a:ext>
            </a:extLst>
          </p:cNvPr>
          <p:cNvSpPr>
            <a:spLocks noChangeArrowheads="1"/>
          </p:cNvSpPr>
          <p:nvPr>
            <p:custDataLst>
              <p:tags r:id="rId63"/>
            </p:custDataLst>
          </p:nvPr>
        </p:nvSpPr>
        <p:spPr bwMode="gray">
          <a:xfrm>
            <a:off x="8425693" y="1666874"/>
            <a:ext cx="311358" cy="25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ko-KR" sz="1000" b="1" dirty="0">
                <a:solidFill>
                  <a:srgbClr val="000000"/>
                </a:solidFill>
                <a:ea typeface="Gulim" pitchFamily="34" charset="-127"/>
              </a:rPr>
              <a:t> </a:t>
            </a:r>
            <a:r>
              <a:rPr lang="ru-RU" altLang="ko-KR" sz="1000" b="1" dirty="0">
                <a:solidFill>
                  <a:srgbClr val="000000"/>
                </a:solidFill>
                <a:ea typeface="Gulim" pitchFamily="34" charset="-127"/>
              </a:rPr>
              <a:t>Ноя-Дек</a:t>
            </a:r>
            <a:endParaRPr lang="en-US" altLang="ko-KR" sz="10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14" name="Line 67">
            <a:extLst>
              <a:ext uri="{FF2B5EF4-FFF2-40B4-BE49-F238E27FC236}">
                <a16:creationId xmlns:a16="http://schemas.microsoft.com/office/drawing/2014/main" xmlns="" id="{C62F5C9F-A305-4317-BF83-6E5918BAE8A0}"/>
              </a:ext>
            </a:extLst>
          </p:cNvPr>
          <p:cNvSpPr>
            <a:spLocks noChangeShapeType="1"/>
          </p:cNvSpPr>
          <p:nvPr>
            <p:custDataLst>
              <p:tags r:id="rId64"/>
            </p:custDataLst>
          </p:nvPr>
        </p:nvSpPr>
        <p:spPr bwMode="auto">
          <a:xfrm>
            <a:off x="8140730" y="1669787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16" name="Line 69">
            <a:extLst>
              <a:ext uri="{FF2B5EF4-FFF2-40B4-BE49-F238E27FC236}">
                <a16:creationId xmlns:a16="http://schemas.microsoft.com/office/drawing/2014/main" xmlns="" id="{08F92939-5D85-4EA1-BB65-28CE65A13E5E}"/>
              </a:ext>
            </a:extLst>
          </p:cNvPr>
          <p:cNvSpPr>
            <a:spLocks noChangeShapeType="1"/>
          </p:cNvSpPr>
          <p:nvPr>
            <p:custDataLst>
              <p:tags r:id="rId65"/>
            </p:custDataLst>
          </p:nvPr>
        </p:nvSpPr>
        <p:spPr bwMode="auto">
          <a:xfrm>
            <a:off x="8505771" y="1937339"/>
            <a:ext cx="0" cy="3600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sp>
        <p:nvSpPr>
          <p:cNvPr id="121" name="Line 67">
            <a:extLst>
              <a:ext uri="{FF2B5EF4-FFF2-40B4-BE49-F238E27FC236}">
                <a16:creationId xmlns:a16="http://schemas.microsoft.com/office/drawing/2014/main" xmlns="" id="{92DA8625-D750-4213-A86B-AD58D1E419A6}"/>
              </a:ext>
            </a:extLst>
          </p:cNvPr>
          <p:cNvSpPr>
            <a:spLocks noChangeShapeType="1"/>
          </p:cNvSpPr>
          <p:nvPr>
            <p:custDataLst>
              <p:tags r:id="rId66"/>
            </p:custDataLst>
          </p:nvPr>
        </p:nvSpPr>
        <p:spPr bwMode="auto">
          <a:xfrm>
            <a:off x="8838115" y="1689239"/>
            <a:ext cx="0" cy="385200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200" b="1">
              <a:solidFill>
                <a:srgbClr val="999999"/>
              </a:solidFill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7D86C8AD-C085-44A9-A504-77A9C7153557}"/>
              </a:ext>
            </a:extLst>
          </p:cNvPr>
          <p:cNvGrpSpPr/>
          <p:nvPr/>
        </p:nvGrpSpPr>
        <p:grpSpPr>
          <a:xfrm>
            <a:off x="2588914" y="5642224"/>
            <a:ext cx="1656000" cy="438181"/>
            <a:chOff x="2666738" y="5772956"/>
            <a:chExt cx="1656000" cy="438181"/>
          </a:xfrm>
        </p:grpSpPr>
        <p:sp>
          <p:nvSpPr>
            <p:cNvPr id="126" name="AutoShape 46">
              <a:extLst>
                <a:ext uri="{FF2B5EF4-FFF2-40B4-BE49-F238E27FC236}">
                  <a16:creationId xmlns:a16="http://schemas.microsoft.com/office/drawing/2014/main" xmlns="" id="{E9C9FD94-9C2D-4DFE-B50C-9BBF9AB1C522}"/>
                </a:ext>
              </a:extLst>
            </p:cNvPr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3427824" y="5772956"/>
              <a:ext cx="141108" cy="14724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l-GR" sz="1200" b="1">
                <a:solidFill>
                  <a:srgbClr val="FFFFFF"/>
                </a:solidFill>
              </a:endParaRPr>
            </a:p>
          </p:txBody>
        </p:sp>
        <p:sp>
          <p:nvSpPr>
            <p:cNvPr id="141" name="Rectangle 47">
              <a:extLst>
                <a:ext uri="{FF2B5EF4-FFF2-40B4-BE49-F238E27FC236}">
                  <a16:creationId xmlns:a16="http://schemas.microsoft.com/office/drawing/2014/main" xmlns="" id="{9F254800-B063-4A79-AFE2-E4C4024C832F}"/>
                </a:ext>
              </a:extLst>
            </p:cNvPr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2666738" y="5930460"/>
              <a:ext cx="1656000" cy="2806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tIns="91440" bIns="9144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6E6452"/>
                </a:buClr>
              </a:pPr>
              <a:r>
                <a:rPr lang="ru-RU" altLang="ko-KR" sz="900" b="1" dirty="0">
                  <a:solidFill>
                    <a:srgbClr val="000000"/>
                  </a:solidFill>
                  <a:ea typeface="Gulim" pitchFamily="34" charset="-127"/>
                </a:rPr>
                <a:t>Отчет о моделях, данных и заинтересованных сторонах</a:t>
              </a:r>
              <a:endParaRPr lang="en-US" altLang="ko-KR" sz="900" b="1" dirty="0">
                <a:solidFill>
                  <a:srgbClr val="000000"/>
                </a:solidFill>
                <a:ea typeface="Gulim" pitchFamily="34" charset="-127"/>
              </a:endParaRP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1CD5DB17-57C4-4968-82AE-0C9C36B6DE3B}"/>
              </a:ext>
            </a:extLst>
          </p:cNvPr>
          <p:cNvGrpSpPr/>
          <p:nvPr/>
        </p:nvGrpSpPr>
        <p:grpSpPr>
          <a:xfrm>
            <a:off x="5988788" y="5632965"/>
            <a:ext cx="1404000" cy="421483"/>
            <a:chOff x="5988788" y="5739972"/>
            <a:chExt cx="1404000" cy="421483"/>
          </a:xfrm>
        </p:grpSpPr>
        <p:sp>
          <p:nvSpPr>
            <p:cNvPr id="110" name="AutoShape 46">
              <a:extLst>
                <a:ext uri="{FF2B5EF4-FFF2-40B4-BE49-F238E27FC236}">
                  <a16:creationId xmlns:a16="http://schemas.microsoft.com/office/drawing/2014/main" xmlns="" id="{84AD9A3C-53B8-47A1-8A4A-6930345B46E6}"/>
                </a:ext>
              </a:extLst>
            </p:cNvPr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6605198" y="5739972"/>
              <a:ext cx="141108" cy="14724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l-GR" sz="1200" b="1">
                <a:solidFill>
                  <a:srgbClr val="FFFFFF"/>
                </a:solidFill>
              </a:endParaRPr>
            </a:p>
          </p:txBody>
        </p:sp>
        <p:sp>
          <p:nvSpPr>
            <p:cNvPr id="112" name="Rectangle 47">
              <a:extLst>
                <a:ext uri="{FF2B5EF4-FFF2-40B4-BE49-F238E27FC236}">
                  <a16:creationId xmlns:a16="http://schemas.microsoft.com/office/drawing/2014/main" xmlns="" id="{C68233F3-42FD-4C74-A103-B0BDB4C1C8E5}"/>
                </a:ext>
              </a:extLst>
            </p:cNvPr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5988788" y="5907207"/>
              <a:ext cx="1404000" cy="25424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tIns="91440" bIns="9144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6E6452"/>
                </a:buClr>
              </a:pPr>
              <a:r>
                <a:rPr lang="ru-RU" altLang="ko-KR" sz="900" b="1" dirty="0">
                  <a:solidFill>
                    <a:srgbClr val="000000"/>
                  </a:solidFill>
                  <a:ea typeface="Gulim" pitchFamily="34" charset="-127"/>
                </a:rPr>
                <a:t>Модели переданы ИЭИ и </a:t>
              </a:r>
              <a:r>
                <a:rPr lang="ru-RU" altLang="ko-KR" sz="900" b="1" dirty="0" err="1">
                  <a:solidFill>
                    <a:srgbClr val="000000"/>
                  </a:solidFill>
                  <a:ea typeface="Gulim" pitchFamily="34" charset="-127"/>
                </a:rPr>
                <a:t>Жасыл</a:t>
              </a:r>
              <a:r>
                <a:rPr lang="ru-RU" altLang="ko-KR" sz="900" b="1" dirty="0">
                  <a:solidFill>
                    <a:srgbClr val="000000"/>
                  </a:solidFill>
                  <a:ea typeface="Gulim" pitchFamily="34" charset="-127"/>
                </a:rPr>
                <a:t> Даму и отчет проекта сценариев</a:t>
              </a:r>
              <a:endParaRPr lang="en-US" altLang="ko-KR" sz="900" b="1" dirty="0">
                <a:solidFill>
                  <a:srgbClr val="000000"/>
                </a:solidFill>
                <a:ea typeface="Gulim" pitchFamily="34" charset="-127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C9F91F66-6DC0-4DFB-A074-C9DB5A822071}"/>
              </a:ext>
            </a:extLst>
          </p:cNvPr>
          <p:cNvGrpSpPr/>
          <p:nvPr/>
        </p:nvGrpSpPr>
        <p:grpSpPr>
          <a:xfrm>
            <a:off x="7493328" y="5639449"/>
            <a:ext cx="1080000" cy="421483"/>
            <a:chOff x="7493328" y="5746457"/>
            <a:chExt cx="1080000" cy="421483"/>
          </a:xfrm>
        </p:grpSpPr>
        <p:sp>
          <p:nvSpPr>
            <p:cNvPr id="122" name="AutoShape 46">
              <a:extLst>
                <a:ext uri="{FF2B5EF4-FFF2-40B4-BE49-F238E27FC236}">
                  <a16:creationId xmlns:a16="http://schemas.microsoft.com/office/drawing/2014/main" xmlns="" id="{D0E925A9-E5E2-4D6E-820A-A719D97A2505}"/>
                </a:ext>
              </a:extLst>
            </p:cNvPr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8061103" y="5746457"/>
              <a:ext cx="141108" cy="147243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l-GR" sz="1200" b="1">
                <a:solidFill>
                  <a:srgbClr val="FFFFFF"/>
                </a:solidFill>
              </a:endParaRPr>
            </a:p>
          </p:txBody>
        </p:sp>
        <p:sp>
          <p:nvSpPr>
            <p:cNvPr id="123" name="Rectangle 47">
              <a:extLst>
                <a:ext uri="{FF2B5EF4-FFF2-40B4-BE49-F238E27FC236}">
                  <a16:creationId xmlns:a16="http://schemas.microsoft.com/office/drawing/2014/main" xmlns="" id="{43EF7090-BEA0-4E74-BB89-3257CC8AFBB8}"/>
                </a:ext>
              </a:extLst>
            </p:cNvPr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7493328" y="5913692"/>
              <a:ext cx="1080000" cy="25424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tIns="91440" bIns="9144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6E6452"/>
                </a:buClr>
              </a:pPr>
              <a:r>
                <a:rPr lang="ru-RU" altLang="ko-KR" sz="900" b="1" dirty="0">
                  <a:solidFill>
                    <a:srgbClr val="000000"/>
                  </a:solidFill>
                  <a:ea typeface="Gulim" pitchFamily="34" charset="-127"/>
                </a:rPr>
                <a:t>Сценарии моделированы и согласованы</a:t>
              </a:r>
              <a:endParaRPr lang="en-US" altLang="ko-KR" sz="900" b="1" dirty="0">
                <a:solidFill>
                  <a:srgbClr val="000000"/>
                </a:solidFill>
                <a:ea typeface="Gulim" pitchFamily="34" charset="-127"/>
              </a:endParaRPr>
            </a:p>
          </p:txBody>
        </p:sp>
      </p:grpSp>
      <p:sp>
        <p:nvSpPr>
          <p:cNvPr id="100" name="Заголовок 1">
            <a:extLst>
              <a:ext uri="{FF2B5EF4-FFF2-40B4-BE49-F238E27FC236}">
                <a16:creationId xmlns:a16="http://schemas.microsoft.com/office/drawing/2014/main" xmlns="" id="{34262CF9-1E34-46B4-83DB-A0761E46C14A}"/>
              </a:ext>
            </a:extLst>
          </p:cNvPr>
          <p:cNvSpPr txBox="1">
            <a:spLocks/>
          </p:cNvSpPr>
          <p:nvPr/>
        </p:nvSpPr>
        <p:spPr bwMode="auto">
          <a:xfrm>
            <a:off x="496495" y="1118153"/>
            <a:ext cx="8336567" cy="427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E645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b="1" dirty="0">
                <a:solidFill>
                  <a:srgbClr val="C00000"/>
                </a:solidFill>
              </a:rPr>
              <a:t>План проектной деятельности по </a:t>
            </a:r>
            <a:r>
              <a:rPr lang="ru-RU" b="1" dirty="0">
                <a:solidFill>
                  <a:srgbClr val="C80F0F"/>
                </a:solidFill>
              </a:rPr>
              <a:t>разработке СНУР</a:t>
            </a:r>
          </a:p>
        </p:txBody>
      </p:sp>
      <p:sp>
        <p:nvSpPr>
          <p:cNvPr id="106" name="Rectangle 51">
            <a:extLst>
              <a:ext uri="{FF2B5EF4-FFF2-40B4-BE49-F238E27FC236}">
                <a16:creationId xmlns:a16="http://schemas.microsoft.com/office/drawing/2014/main" xmlns="" id="{E53D7DEC-32FF-4301-9C27-D7FC49104021}"/>
              </a:ext>
            </a:extLst>
          </p:cNvPr>
          <p:cNvSpPr>
            <a:spLocks noChangeArrowheads="1"/>
          </p:cNvSpPr>
          <p:nvPr>
            <p:custDataLst>
              <p:tags r:id="rId67"/>
            </p:custDataLst>
          </p:nvPr>
        </p:nvSpPr>
        <p:spPr bwMode="gray">
          <a:xfrm>
            <a:off x="7774108" y="4281472"/>
            <a:ext cx="360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 dirty="0">
              <a:solidFill>
                <a:srgbClr val="000000"/>
              </a:solidFill>
            </a:endParaRPr>
          </a:p>
        </p:txBody>
      </p:sp>
      <p:sp>
        <p:nvSpPr>
          <p:cNvPr id="111" name="Rectangle 51">
            <a:extLst>
              <a:ext uri="{FF2B5EF4-FFF2-40B4-BE49-F238E27FC236}">
                <a16:creationId xmlns:a16="http://schemas.microsoft.com/office/drawing/2014/main" xmlns="" id="{E5527B7D-BA87-43B5-9D84-AE79CA9F4C6C}"/>
              </a:ext>
            </a:extLst>
          </p:cNvPr>
          <p:cNvSpPr>
            <a:spLocks noChangeArrowheads="1"/>
          </p:cNvSpPr>
          <p:nvPr>
            <p:custDataLst>
              <p:tags r:id="rId68"/>
            </p:custDataLst>
          </p:nvPr>
        </p:nvSpPr>
        <p:spPr bwMode="gray">
          <a:xfrm>
            <a:off x="4903907" y="4281472"/>
            <a:ext cx="324000" cy="2880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360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2060849"/>
            <a:ext cx="7772400" cy="1362075"/>
          </a:xfrm>
        </p:spPr>
        <p:txBody>
          <a:bodyPr>
            <a:noAutofit/>
          </a:bodyPr>
          <a:lstStyle/>
          <a:p>
            <a:pPr algn="ctr"/>
            <a:r>
              <a:rPr lang="ru-RU" sz="2800" dirty="0">
                <a:solidFill>
                  <a:srgbClr val="C00000"/>
                </a:solidFill>
              </a:rPr>
              <a:t>Что получит Казахстан от </a:t>
            </a:r>
            <a:r>
              <a:rPr lang="ru-RU" dirty="0" smtClean="0">
                <a:solidFill>
                  <a:srgbClr val="C00000"/>
                </a:solidFill>
              </a:rPr>
              <a:t>проекта</a:t>
            </a:r>
            <a:br>
              <a:rPr lang="ru-RU" dirty="0" smtClean="0">
                <a:solidFill>
                  <a:srgbClr val="C00000"/>
                </a:solidFill>
              </a:rPr>
            </a:br>
            <a:r>
              <a:rPr lang="ru-RU" sz="2800" dirty="0" smtClean="0">
                <a:solidFill>
                  <a:srgbClr val="C00000"/>
                </a:solidFill>
              </a:rPr>
              <a:t>в </a:t>
            </a:r>
            <a:r>
              <a:rPr lang="ru-RU" sz="2800" dirty="0">
                <a:solidFill>
                  <a:srgbClr val="C00000"/>
                </a:solidFill>
              </a:rPr>
              <a:t>конечном итоге</a:t>
            </a:r>
            <a:r>
              <a:rPr lang="ru-RU" sz="2800" dirty="0" smtClean="0">
                <a:solidFill>
                  <a:srgbClr val="C00000"/>
                </a:solidFill>
              </a:rPr>
              <a:t>?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798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39552" y="260648"/>
            <a:ext cx="8229600" cy="720080"/>
          </a:xfrm>
        </p:spPr>
        <p:txBody>
          <a:bodyPr>
            <a:noAutofit/>
          </a:bodyPr>
          <a:lstStyle/>
          <a:p>
            <a:r>
              <a:rPr lang="ru-RU" sz="2400" b="1" dirty="0">
                <a:solidFill>
                  <a:srgbClr val="C00000"/>
                </a:solidFill>
              </a:rPr>
              <a:t>Ожидаемые долгосрочные эффекты от реализации проекта  (польза для Казахстана)</a:t>
            </a: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395536" y="1196752"/>
            <a:ext cx="8424936" cy="5544616"/>
          </a:xfrm>
        </p:spPr>
        <p:txBody>
          <a:bodyPr>
            <a:normAutofit fontScale="47500" lnSpcReduction="20000"/>
          </a:bodyPr>
          <a:lstStyle/>
          <a:p>
            <a:pPr marL="0" lvl="0" indent="0">
              <a:buNone/>
            </a:pPr>
            <a:r>
              <a:rPr lang="ru-RU" sz="3400" b="1" dirty="0" smtClean="0">
                <a:solidFill>
                  <a:srgbClr val="C00000"/>
                </a:solidFill>
              </a:rPr>
              <a:t>В </a:t>
            </a:r>
            <a:r>
              <a:rPr lang="ru-RU" sz="3400" b="1" dirty="0">
                <a:solidFill>
                  <a:srgbClr val="C00000"/>
                </a:solidFill>
              </a:rPr>
              <a:t>конце мая должна состояться передача </a:t>
            </a:r>
            <a:r>
              <a:rPr lang="ru-RU" sz="3400" b="1" dirty="0" smtClean="0">
                <a:solidFill>
                  <a:srgbClr val="C00000"/>
                </a:solidFill>
              </a:rPr>
              <a:t>моделей</a:t>
            </a:r>
            <a:r>
              <a:rPr lang="ru-RU" sz="3400" dirty="0" smtClean="0"/>
              <a:t> партнерам проекта.</a:t>
            </a:r>
          </a:p>
          <a:p>
            <a:pPr marL="0" lvl="0" indent="0">
              <a:buNone/>
            </a:pPr>
            <a:endParaRPr lang="ru-RU" sz="3400" dirty="0" smtClean="0">
              <a:solidFill>
                <a:srgbClr val="C00000"/>
              </a:solidFill>
              <a:cs typeface="Times New Roman"/>
            </a:endParaRPr>
          </a:p>
          <a:p>
            <a:pPr marL="0" lvl="0" indent="0">
              <a:buNone/>
            </a:pPr>
            <a:r>
              <a:rPr lang="ru-RU" sz="3400" b="1" dirty="0" smtClean="0">
                <a:solidFill>
                  <a:srgbClr val="C00000"/>
                </a:solidFill>
                <a:cs typeface="Times New Roman"/>
              </a:rPr>
              <a:t>Сотрудники </a:t>
            </a:r>
            <a:r>
              <a:rPr lang="ru-RU" sz="3400" b="1" dirty="0">
                <a:solidFill>
                  <a:srgbClr val="C00000"/>
                </a:solidFill>
                <a:cs typeface="Times New Roman"/>
              </a:rPr>
              <a:t>АО «</a:t>
            </a:r>
            <a:r>
              <a:rPr lang="ru-RU" sz="3400" b="1" dirty="0" err="1">
                <a:solidFill>
                  <a:srgbClr val="C00000"/>
                </a:solidFill>
                <a:cs typeface="Times New Roman"/>
              </a:rPr>
              <a:t>Жасыл</a:t>
            </a:r>
            <a:r>
              <a:rPr lang="ru-RU" sz="3400" b="1" dirty="0">
                <a:solidFill>
                  <a:srgbClr val="C00000"/>
                </a:solidFill>
                <a:cs typeface="Times New Roman"/>
              </a:rPr>
              <a:t> даму</a:t>
            </a:r>
            <a:r>
              <a:rPr lang="ru-RU" sz="3400" b="1" dirty="0" smtClean="0">
                <a:solidFill>
                  <a:srgbClr val="C00000"/>
                </a:solidFill>
                <a:cs typeface="Times New Roman"/>
              </a:rPr>
              <a:t>»</a:t>
            </a:r>
            <a:r>
              <a:rPr lang="ru-RU" sz="3400" b="1" dirty="0">
                <a:solidFill>
                  <a:srgbClr val="C00000"/>
                </a:solidFill>
                <a:cs typeface="Times New Roman"/>
              </a:rPr>
              <a:t> и </a:t>
            </a:r>
            <a:r>
              <a:rPr lang="ru-RU" sz="3400" b="1" dirty="0" smtClean="0">
                <a:solidFill>
                  <a:srgbClr val="C00000"/>
                </a:solidFill>
                <a:cs typeface="Times New Roman"/>
              </a:rPr>
              <a:t>АО </a:t>
            </a:r>
            <a:r>
              <a:rPr lang="ru-RU" sz="3400" b="1" dirty="0">
                <a:solidFill>
                  <a:srgbClr val="C00000"/>
                </a:solidFill>
                <a:cs typeface="Times New Roman"/>
              </a:rPr>
              <a:t>«Институт экономических исследований» </a:t>
            </a:r>
            <a:r>
              <a:rPr lang="ru-RU" sz="3400" b="1" dirty="0" smtClean="0">
                <a:solidFill>
                  <a:srgbClr val="C00000"/>
                </a:solidFill>
                <a:cs typeface="Times New Roman"/>
              </a:rPr>
              <a:t>будут </a:t>
            </a:r>
            <a:r>
              <a:rPr lang="ru-RU" sz="3400" b="1" dirty="0">
                <a:solidFill>
                  <a:srgbClr val="C00000"/>
                </a:solidFill>
                <a:cs typeface="Times New Roman"/>
              </a:rPr>
              <a:t>обучены </a:t>
            </a:r>
            <a:r>
              <a:rPr lang="ru-RU" sz="3400" dirty="0" smtClean="0">
                <a:cs typeface="Times New Roman"/>
              </a:rPr>
              <a:t>работать </a:t>
            </a:r>
            <a:r>
              <a:rPr lang="ru-RU" sz="3400" dirty="0">
                <a:cs typeface="Times New Roman"/>
              </a:rPr>
              <a:t>с </a:t>
            </a:r>
            <a:r>
              <a:rPr lang="ru-RU" sz="3400" dirty="0" smtClean="0">
                <a:cs typeface="Times New Roman"/>
              </a:rPr>
              <a:t>моделями и </a:t>
            </a:r>
            <a:r>
              <a:rPr lang="ru-RU" sz="3400" dirty="0">
                <a:cs typeface="Times New Roman"/>
              </a:rPr>
              <a:t>интерпретировать результаты для </a:t>
            </a:r>
            <a:r>
              <a:rPr lang="ru-RU" sz="3400" dirty="0" smtClean="0">
                <a:cs typeface="Times New Roman"/>
              </a:rPr>
              <a:t> того, чтобы  после завершения проекта оказывать экспертную поддержку Правительству РК  в пересмотре </a:t>
            </a:r>
            <a:r>
              <a:rPr lang="ru-RU" sz="3400" dirty="0">
                <a:cs typeface="Times New Roman"/>
              </a:rPr>
              <a:t>и </a:t>
            </a:r>
            <a:r>
              <a:rPr lang="ru-RU" sz="3400" dirty="0" smtClean="0">
                <a:cs typeface="Times New Roman"/>
              </a:rPr>
              <a:t>обновлении </a:t>
            </a:r>
            <a:r>
              <a:rPr lang="en-US" sz="3400" dirty="0">
                <a:cs typeface="Times New Roman"/>
              </a:rPr>
              <a:t>NDC</a:t>
            </a:r>
            <a:r>
              <a:rPr lang="ru-RU" sz="3400" dirty="0">
                <a:cs typeface="Times New Roman"/>
              </a:rPr>
              <a:t>  и </a:t>
            </a:r>
            <a:r>
              <a:rPr lang="ru-RU" sz="3400" dirty="0" smtClean="0">
                <a:cs typeface="Times New Roman"/>
              </a:rPr>
              <a:t>СНУР (</a:t>
            </a:r>
            <a:r>
              <a:rPr lang="ru-RU" sz="3400" dirty="0">
                <a:cs typeface="Times New Roman"/>
              </a:rPr>
              <a:t>каждые 5 лет) .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ru-RU" sz="3400" dirty="0" smtClean="0"/>
              <a:t>Будут переданы:</a:t>
            </a:r>
          </a:p>
          <a:p>
            <a:pPr marL="228600" lvl="0" indent="-228600">
              <a:spcBef>
                <a:spcPts val="0"/>
              </a:spcBef>
              <a:buAutoNum type="arabicParenR"/>
              <a:defRPr/>
            </a:pP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Оптимизационная энергетическая </a:t>
            </a:r>
            <a:r>
              <a:rPr lang="ru-RU" sz="3400" b="1" dirty="0">
                <a:solidFill>
                  <a:srgbClr val="C00000"/>
                </a:solidFill>
                <a:ea typeface="Times New Roman"/>
                <a:cs typeface="Times New Roman"/>
              </a:rPr>
              <a:t>модель </a:t>
            </a:r>
            <a:r>
              <a:rPr lang="en-US" sz="3400" b="1" dirty="0">
                <a:solidFill>
                  <a:srgbClr val="C00000"/>
                </a:solidFill>
                <a:ea typeface="Times New Roman"/>
                <a:cs typeface="Times New Roman"/>
              </a:rPr>
              <a:t>TIMES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,</a:t>
            </a:r>
            <a:r>
              <a:rPr lang="en-US" sz="3400" dirty="0">
                <a:solidFill>
                  <a:prstClr val="black"/>
                </a:solidFill>
                <a:ea typeface="Times New Roman"/>
                <a:cs typeface="Times New Roman"/>
              </a:rPr>
              <a:t>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которая охватывает все ключевые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секторы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экономики, сжигающие топливо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с фокусом на те, что вносят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весомый вклад в национальные выбросы ПГ;</a:t>
            </a:r>
          </a:p>
          <a:p>
            <a:pPr marL="228600" lvl="0" indent="-228600">
              <a:spcBef>
                <a:spcPts val="0"/>
              </a:spcBef>
              <a:buAutoNum type="arabicParenR"/>
              <a:defRPr/>
            </a:pPr>
            <a:r>
              <a:rPr lang="ru-RU" sz="3400" b="1" dirty="0">
                <a:solidFill>
                  <a:srgbClr val="C00000"/>
                </a:solidFill>
                <a:ea typeface="Times New Roman"/>
                <a:cs typeface="Times New Roman"/>
              </a:rPr>
              <a:t>модель </a:t>
            </a:r>
            <a:r>
              <a:rPr lang="en-US" sz="3400" b="1" dirty="0">
                <a:solidFill>
                  <a:srgbClr val="C00000"/>
                </a:solidFill>
                <a:ea typeface="Times New Roman"/>
                <a:cs typeface="Times New Roman"/>
              </a:rPr>
              <a:t>System </a:t>
            </a:r>
            <a:r>
              <a:rPr lang="en-US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Dynamics</a:t>
            </a: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 (</a:t>
            </a:r>
            <a:r>
              <a:rPr lang="en-US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SD</a:t>
            </a: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)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для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4 наиболее чувствительных к воздействию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изменения климата секторов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(угледобывающей отрасли, автотранспорта, сектора отопления зданий и сельского хозяйства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) будет оценивать влияние предлагаемых политик на экономические, экологические и социальные параметры развития этих отраслей и страны;</a:t>
            </a:r>
            <a:endParaRPr lang="ru-RU" sz="3400" dirty="0">
              <a:solidFill>
                <a:prstClr val="black"/>
              </a:solidFill>
              <a:ea typeface="Times New Roman"/>
              <a:cs typeface="Times New Roman"/>
            </a:endParaRPr>
          </a:p>
          <a:p>
            <a:pPr marL="228600" lvl="0" indent="-228600">
              <a:spcBef>
                <a:spcPts val="0"/>
              </a:spcBef>
              <a:buAutoNum type="arabicParenR"/>
              <a:defRPr/>
            </a:pPr>
            <a:r>
              <a:rPr lang="ru-RU" sz="3400" b="1" dirty="0">
                <a:solidFill>
                  <a:srgbClr val="C00000"/>
                </a:solidFill>
                <a:ea typeface="Times New Roman"/>
                <a:cs typeface="Times New Roman"/>
              </a:rPr>
              <a:t>макроэкономическая </a:t>
            </a: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динамическая модель </a:t>
            </a:r>
            <a:r>
              <a:rPr lang="en-US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CGE</a:t>
            </a: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будет позволять имитировать воздействие различных политик на основные экономические параметры развития и выбранные социальные и экологические.</a:t>
            </a:r>
            <a:endParaRPr lang="ru-RU" sz="3400" dirty="0">
              <a:solidFill>
                <a:prstClr val="black"/>
              </a:solidFill>
              <a:ea typeface="Times New Roman"/>
              <a:cs typeface="Times New Roman"/>
            </a:endParaRPr>
          </a:p>
          <a:p>
            <a:pPr marL="228600" lvl="0" indent="-228600">
              <a:spcBef>
                <a:spcPts val="0"/>
              </a:spcBef>
              <a:buAutoNum type="arabicParenR"/>
              <a:defRPr/>
            </a:pP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Гибридная модель </a:t>
            </a:r>
            <a:r>
              <a:rPr lang="en-US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IAM</a:t>
            </a:r>
            <a:r>
              <a:rPr lang="ru-RU" sz="3400" b="1" dirty="0" smtClean="0">
                <a:solidFill>
                  <a:prstClr val="black"/>
                </a:solidFill>
                <a:ea typeface="Times New Roman"/>
                <a:cs typeface="Times New Roman"/>
              </a:rPr>
              <a:t>,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которая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будет создана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на базе динамической модели </a:t>
            </a:r>
            <a:r>
              <a:rPr lang="en-US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CGE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 путем ее линкования с моделями </a:t>
            </a:r>
            <a:r>
              <a:rPr lang="en-US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TIMES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 и </a:t>
            </a:r>
            <a:r>
              <a:rPr lang="en-US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SD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.</a:t>
            </a:r>
            <a:endParaRPr lang="ru-RU" sz="3400" dirty="0">
              <a:solidFill>
                <a:prstClr val="black"/>
              </a:solidFill>
              <a:ea typeface="Times New Roman"/>
              <a:cs typeface="Times New Roman"/>
            </a:endParaRPr>
          </a:p>
          <a:p>
            <a:pPr marL="228600" lvl="0" indent="-228600">
              <a:spcBef>
                <a:spcPts val="0"/>
              </a:spcBef>
              <a:buAutoNum type="arabicParenR"/>
              <a:defRPr/>
            </a:pP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Результаты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моделирования сценариев НУР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будут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внесены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в </a:t>
            </a:r>
            <a:r>
              <a:rPr lang="ru-RU" sz="3400" b="1" dirty="0">
                <a:solidFill>
                  <a:srgbClr val="C00000"/>
                </a:solidFill>
                <a:ea typeface="Times New Roman"/>
                <a:cs typeface="Times New Roman"/>
              </a:rPr>
              <a:t>интерактивную информационную панель </a:t>
            </a:r>
            <a:r>
              <a:rPr lang="en-US" sz="3400" b="1" dirty="0">
                <a:solidFill>
                  <a:srgbClr val="C00000"/>
                </a:solidFill>
                <a:ea typeface="Times New Roman"/>
                <a:cs typeface="Times New Roman"/>
              </a:rPr>
              <a:t>Dashboard</a:t>
            </a:r>
            <a:r>
              <a:rPr lang="ru-RU" sz="3400" b="1" dirty="0">
                <a:solidFill>
                  <a:prstClr val="black"/>
                </a:solidFill>
                <a:ea typeface="Times New Roman"/>
                <a:cs typeface="Times New Roman"/>
              </a:rPr>
              <a:t>, </a:t>
            </a:r>
            <a:r>
              <a:rPr lang="ru-RU" sz="3400" dirty="0">
                <a:solidFill>
                  <a:prstClr val="black"/>
                </a:solidFill>
                <a:ea typeface="Times New Roman"/>
                <a:cs typeface="Times New Roman"/>
              </a:rPr>
              <a:t>которая создается для мониторинга реализации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СНУР и удобства работы со </a:t>
            </a:r>
            <a:r>
              <a:rPr lang="ru-RU" sz="3400" dirty="0" err="1" smtClean="0">
                <a:solidFill>
                  <a:prstClr val="black"/>
                </a:solidFill>
                <a:ea typeface="Times New Roman"/>
                <a:cs typeface="Times New Roman"/>
              </a:rPr>
              <a:t>стейкхолдерами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. </a:t>
            </a:r>
            <a:endParaRPr lang="ru-RU" sz="3400" dirty="0">
              <a:solidFill>
                <a:prstClr val="black"/>
              </a:solidFill>
              <a:ea typeface="Times New Roman"/>
              <a:cs typeface="Times New Roman"/>
            </a:endParaRPr>
          </a:p>
          <a:p>
            <a:pPr marL="0" lvl="0" indent="0">
              <a:spcBef>
                <a:spcPts val="0"/>
              </a:spcBef>
              <a:buNone/>
              <a:defRPr/>
            </a:pPr>
            <a:endParaRPr lang="ru-RU" sz="3400" b="1" dirty="0" smtClean="0">
              <a:solidFill>
                <a:prstClr val="black"/>
              </a:solidFill>
              <a:ea typeface="Times New Roman"/>
              <a:cs typeface="Times New Roman"/>
            </a:endParaRPr>
          </a:p>
          <a:p>
            <a:pPr marL="0" lvl="0" indent="0">
              <a:spcBef>
                <a:spcPts val="0"/>
              </a:spcBef>
              <a:buNone/>
              <a:defRPr/>
            </a:pP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К концу ноября </a:t>
            </a:r>
            <a:r>
              <a:rPr lang="en-US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GIZ </a:t>
            </a: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планирует передать </a:t>
            </a:r>
            <a:r>
              <a:rPr lang="ru-RU" sz="3400" b="1" dirty="0">
                <a:solidFill>
                  <a:srgbClr val="C00000"/>
                </a:solidFill>
                <a:ea typeface="Times New Roman"/>
                <a:cs typeface="Times New Roman"/>
              </a:rPr>
              <a:t>Казахстану </a:t>
            </a:r>
            <a:r>
              <a:rPr lang="ru-RU" sz="3400" b="1" dirty="0" smtClean="0">
                <a:solidFill>
                  <a:srgbClr val="C00000"/>
                </a:solidFill>
                <a:ea typeface="Times New Roman"/>
                <a:cs typeface="Times New Roman"/>
              </a:rPr>
              <a:t>СНУР</a:t>
            </a:r>
            <a:r>
              <a:rPr lang="ru-RU" sz="3400" b="1" dirty="0" smtClean="0">
                <a:solidFill>
                  <a:srgbClr val="0070C0"/>
                </a:solidFill>
                <a:ea typeface="Times New Roman"/>
                <a:cs typeface="Times New Roman"/>
              </a:rPr>
              <a:t>, 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разработанный на основе достигнутого  </a:t>
            </a:r>
            <a:r>
              <a:rPr lang="ru-RU" sz="3400" dirty="0" err="1" smtClean="0">
                <a:solidFill>
                  <a:prstClr val="black"/>
                </a:solidFill>
                <a:ea typeface="Times New Roman"/>
                <a:cs typeface="Times New Roman"/>
              </a:rPr>
              <a:t>стейкхолдерами</a:t>
            </a:r>
            <a:r>
              <a:rPr lang="ru-RU" sz="3400" dirty="0" smtClean="0">
                <a:solidFill>
                  <a:prstClr val="black"/>
                </a:solidFill>
                <a:ea typeface="Times New Roman"/>
                <a:cs typeface="Times New Roman"/>
              </a:rPr>
              <a:t> консенсуса</a:t>
            </a:r>
            <a:r>
              <a:rPr lang="ru-RU" sz="3400" b="1" dirty="0" smtClean="0">
                <a:solidFill>
                  <a:prstClr val="black"/>
                </a:solidFill>
                <a:ea typeface="Times New Roman"/>
                <a:cs typeface="Times New Roman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47019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2564905"/>
            <a:ext cx="7772400" cy="1362075"/>
          </a:xfrm>
        </p:spPr>
        <p:txBody>
          <a:bodyPr>
            <a:noAutofit/>
          </a:bodyPr>
          <a:lstStyle/>
          <a:p>
            <a:pPr algn="ctr"/>
            <a:r>
              <a:rPr lang="ru-RU" sz="2800" dirty="0" smtClean="0">
                <a:solidFill>
                  <a:srgbClr val="C00000"/>
                </a:solidFill>
                <a:ea typeface="+mn-ea"/>
                <a:cs typeface="+mn-cs"/>
              </a:rPr>
              <a:t>Что </a:t>
            </a:r>
            <a:r>
              <a:rPr lang="ru-RU" sz="2800" dirty="0">
                <a:solidFill>
                  <a:srgbClr val="C00000"/>
                </a:solidFill>
                <a:ea typeface="+mn-ea"/>
                <a:cs typeface="+mn-cs"/>
              </a:rPr>
              <a:t>будет представлять собой </a:t>
            </a:r>
            <a:r>
              <a:rPr lang="ru-RU" dirty="0" smtClean="0">
                <a:solidFill>
                  <a:srgbClr val="C00000"/>
                </a:solidFill>
                <a:ea typeface="+mn-ea"/>
                <a:cs typeface="+mn-cs"/>
              </a:rPr>
              <a:t>СНУР</a:t>
            </a:r>
            <a:br>
              <a:rPr lang="ru-RU" dirty="0" smtClean="0">
                <a:solidFill>
                  <a:srgbClr val="C00000"/>
                </a:solidFill>
                <a:ea typeface="+mn-ea"/>
                <a:cs typeface="+mn-cs"/>
              </a:rPr>
            </a:br>
            <a:r>
              <a:rPr lang="ru-RU" sz="2800" dirty="0" smtClean="0">
                <a:solidFill>
                  <a:srgbClr val="C00000"/>
                </a:solidFill>
                <a:ea typeface="+mn-ea"/>
                <a:cs typeface="+mn-cs"/>
              </a:rPr>
              <a:t>в </a:t>
            </a:r>
            <a:r>
              <a:rPr lang="ru-RU" sz="2800" dirty="0">
                <a:solidFill>
                  <a:srgbClr val="C00000"/>
                </a:solidFill>
                <a:ea typeface="+mn-ea"/>
                <a:cs typeface="+mn-cs"/>
              </a:rPr>
              <a:t>конце </a:t>
            </a:r>
            <a:r>
              <a:rPr lang="ru-RU" sz="2800" dirty="0" smtClean="0">
                <a:solidFill>
                  <a:srgbClr val="C00000"/>
                </a:solidFill>
                <a:ea typeface="+mn-ea"/>
                <a:cs typeface="+mn-cs"/>
              </a:rPr>
              <a:t>года?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105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C7216BFE-C902-4F31-9578-29726165A8EB}"/>
              </a:ext>
            </a:extLst>
          </p:cNvPr>
          <p:cNvGrpSpPr/>
          <p:nvPr/>
        </p:nvGrpSpPr>
        <p:grpSpPr>
          <a:xfrm>
            <a:off x="562920" y="2111400"/>
            <a:ext cx="7851506" cy="4328314"/>
            <a:chOff x="562920" y="2111399"/>
            <a:chExt cx="5604057" cy="4328315"/>
          </a:xfrm>
        </p:grpSpPr>
        <p:sp>
          <p:nvSpPr>
            <p:cNvPr id="14" name="Rectangle 14">
              <a:extLst>
                <a:ext uri="{FF2B5EF4-FFF2-40B4-BE49-F238E27FC236}">
                  <a16:creationId xmlns:a16="http://schemas.microsoft.com/office/drawing/2014/main" xmlns="" id="{EA327311-8629-41AE-A616-AE5414BD17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3377" y="2111399"/>
              <a:ext cx="5313600" cy="41256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NL" sz="1400" b="1">
                <a:solidFill>
                  <a:srgbClr val="000000"/>
                </a:solidFill>
              </a:endParaRPr>
            </a:p>
          </p:txBody>
        </p:sp>
        <p:sp>
          <p:nvSpPr>
            <p:cNvPr id="13" name="Rectangle 14">
              <a:extLst>
                <a:ext uri="{FF2B5EF4-FFF2-40B4-BE49-F238E27FC236}">
                  <a16:creationId xmlns:a16="http://schemas.microsoft.com/office/drawing/2014/main" xmlns="" id="{FF0B730A-3447-4F23-92D6-5EBE36DF9B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800" y="2153556"/>
              <a:ext cx="5313600" cy="41256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NL" sz="1400" b="1">
                <a:solidFill>
                  <a:srgbClr val="000000"/>
                </a:solidFill>
              </a:endParaRPr>
            </a:p>
          </p:txBody>
        </p:sp>
        <p:sp>
          <p:nvSpPr>
            <p:cNvPr id="12" name="Rectangle 14">
              <a:extLst>
                <a:ext uri="{FF2B5EF4-FFF2-40B4-BE49-F238E27FC236}">
                  <a16:creationId xmlns:a16="http://schemas.microsoft.com/office/drawing/2014/main" xmlns="" id="{EF8FABCE-9E96-41D5-833A-BB5B78A342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4224" y="2185982"/>
              <a:ext cx="5313600" cy="41256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NL" sz="1400" b="1">
                <a:solidFill>
                  <a:srgbClr val="000000"/>
                </a:solidFill>
              </a:endParaRPr>
            </a:p>
          </p:txBody>
        </p:sp>
        <p:sp>
          <p:nvSpPr>
            <p:cNvPr id="11" name="Rectangle 14">
              <a:extLst>
                <a:ext uri="{FF2B5EF4-FFF2-40B4-BE49-F238E27FC236}">
                  <a16:creationId xmlns:a16="http://schemas.microsoft.com/office/drawing/2014/main" xmlns="" id="{E08DB5A2-D38B-4C74-BD90-D6DB087307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18" y="2237865"/>
              <a:ext cx="5313600" cy="41256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NL" sz="1400" b="1">
                <a:solidFill>
                  <a:srgbClr val="000000"/>
                </a:solidFill>
              </a:endParaRP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xmlns="" id="{7152DC3F-DF49-47F3-ADE3-23561048C6E1}"/>
                </a:ext>
              </a:extLst>
            </p:cNvPr>
            <p:cNvSpPr/>
            <p:nvPr/>
          </p:nvSpPr>
          <p:spPr>
            <a:xfrm>
              <a:off x="562920" y="2281908"/>
              <a:ext cx="5312586" cy="415780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txBody>
            <a:bodyPr wrap="square">
              <a:spAutoFit/>
            </a:bodyPr>
            <a:lstStyle/>
            <a:p>
              <a:pPr algn="ctr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600"/>
                </a:spcAft>
                <a:buSzPct val="150000"/>
              </a:pPr>
              <a:r>
                <a:rPr lang="ru-RU" sz="1750" b="1" dirty="0">
                  <a:solidFill>
                    <a:srgbClr val="C00000"/>
                  </a:solidFill>
                </a:rPr>
                <a:t>Оглавление</a:t>
              </a:r>
            </a:p>
            <a:p>
              <a:pPr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600"/>
                </a:spcAft>
                <a:buSzPct val="150000"/>
              </a:pPr>
              <a:r>
                <a:rPr lang="ru-RU" sz="900" b="1" dirty="0">
                  <a:solidFill>
                    <a:srgbClr val="C00000"/>
                  </a:solidFill>
                </a:rPr>
                <a:t>*******************************************************************************************************************************************************************</a:t>
              </a:r>
              <a:endParaRPr lang="ru-RU" dirty="0">
                <a:solidFill>
                  <a:srgbClr val="000000"/>
                </a:solidFill>
              </a:endParaRP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Международный климатический режим………………………………………...</a:t>
              </a: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 smtClean="0">
                  <a:solidFill>
                    <a:srgbClr val="000000"/>
                  </a:solidFill>
                </a:rPr>
                <a:t>Стратегическое видение</a:t>
              </a:r>
              <a:r>
                <a:rPr lang="ru-RU" sz="1600" dirty="0">
                  <a:solidFill>
                    <a:srgbClr val="000000"/>
                  </a:solidFill>
                </a:rPr>
                <a:t>: куда, почему, каким образом</a:t>
              </a:r>
              <a:r>
                <a:rPr lang="ru-RU" sz="1600" dirty="0" smtClean="0">
                  <a:solidFill>
                    <a:srgbClr val="000000"/>
                  </a:solidFill>
                </a:rPr>
                <a:t>?.............................</a:t>
              </a:r>
              <a:endParaRPr lang="ru-RU" sz="1600" dirty="0">
                <a:solidFill>
                  <a:srgbClr val="000000"/>
                </a:solidFill>
              </a:endParaRP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 smtClean="0">
                  <a:solidFill>
                    <a:srgbClr val="000000"/>
                  </a:solidFill>
                </a:rPr>
                <a:t>Вызовы и возможности ………………………………………………………….</a:t>
              </a:r>
              <a:endParaRPr lang="ru-RU" sz="1600" dirty="0">
                <a:solidFill>
                  <a:srgbClr val="000000"/>
                </a:solidFill>
              </a:endParaRP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Секторы: выбросы, потенциал снижения выбросов ПГ, цели, политические инструменты, сценарии…………………………………………..</a:t>
              </a: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Взаимосвязь с адаптацией к </a:t>
              </a:r>
              <a:r>
                <a:rPr lang="ru-RU" sz="1600" dirty="0" smtClean="0">
                  <a:solidFill>
                    <a:srgbClr val="000000"/>
                  </a:solidFill>
                </a:rPr>
                <a:t>последствиям изменения климата</a:t>
              </a:r>
              <a:r>
                <a:rPr lang="ru-RU" sz="1600" dirty="0">
                  <a:solidFill>
                    <a:srgbClr val="000000"/>
                  </a:solidFill>
                </a:rPr>
                <a:t> </a:t>
              </a:r>
              <a:r>
                <a:rPr lang="ru-RU" sz="1600" dirty="0" smtClean="0">
                  <a:solidFill>
                    <a:srgbClr val="000000"/>
                  </a:solidFill>
                </a:rPr>
                <a:t>………….</a:t>
              </a:r>
              <a:endParaRPr lang="ru-RU" sz="1600" dirty="0">
                <a:solidFill>
                  <a:srgbClr val="000000"/>
                </a:solidFill>
              </a:endParaRP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Зеленое финансирование и инвестиции………………………………………..</a:t>
              </a: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Справедливый переход</a:t>
              </a:r>
              <a:r>
                <a:rPr lang="en-US" sz="1600" dirty="0">
                  <a:solidFill>
                    <a:srgbClr val="000000"/>
                  </a:solidFill>
                </a:rPr>
                <a:t> </a:t>
              </a:r>
              <a:r>
                <a:rPr lang="ru-RU" sz="1600" dirty="0">
                  <a:solidFill>
                    <a:srgbClr val="000000"/>
                  </a:solidFill>
                </a:rPr>
                <a:t>и создание рабочих мест……………………………</a:t>
              </a: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Стимулирование исследований и инноваций………………………………….</a:t>
              </a: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Образование…………………………………………………………………………</a:t>
              </a:r>
            </a:p>
            <a:p>
              <a:pPr marL="285750" indent="-285750" eaLnBrk="0" fontAlgn="base" hangingPunct="0">
                <a:lnSpc>
                  <a:spcPct val="107000"/>
                </a:lnSpc>
                <a:spcBef>
                  <a:spcPct val="0"/>
                </a:spcBef>
                <a:spcAft>
                  <a:spcPts val="500"/>
                </a:spcAft>
                <a:buSzPct val="150000"/>
                <a:buFontTx/>
                <a:buBlip>
                  <a:blip r:embed="rId3"/>
                </a:buBlip>
              </a:pPr>
              <a:r>
                <a:rPr lang="ru-RU" sz="1600" dirty="0">
                  <a:solidFill>
                    <a:srgbClr val="000000"/>
                  </a:solidFill>
                </a:rPr>
                <a:t>Мониторинг</a:t>
              </a:r>
              <a:r>
                <a:rPr lang="en-US" sz="1600" dirty="0">
                  <a:solidFill>
                    <a:srgbClr val="000000"/>
                  </a:solidFill>
                </a:rPr>
                <a:t> </a:t>
              </a:r>
              <a:r>
                <a:rPr lang="ru-RU" sz="1600" dirty="0">
                  <a:solidFill>
                    <a:srgbClr val="000000"/>
                  </a:solidFill>
                </a:rPr>
                <a:t>и оценка</a:t>
              </a:r>
              <a:r>
                <a:rPr lang="en-US" sz="1600" dirty="0">
                  <a:solidFill>
                    <a:srgbClr val="000000"/>
                  </a:solidFill>
                </a:rPr>
                <a:t>, </a:t>
              </a:r>
              <a:r>
                <a:rPr lang="ru-RU" sz="1600" dirty="0">
                  <a:solidFill>
                    <a:srgbClr val="000000"/>
                  </a:solidFill>
                </a:rPr>
                <a:t>пересмотр и обновление………………………………</a:t>
              </a:r>
            </a:p>
          </p:txBody>
        </p:sp>
      </p:grpSp>
      <p:sp>
        <p:nvSpPr>
          <p:cNvPr id="8" name="Скругленный прямоугольник 36">
            <a:extLst>
              <a:ext uri="{FF2B5EF4-FFF2-40B4-BE49-F238E27FC236}">
                <a16:creationId xmlns:a16="http://schemas.microsoft.com/office/drawing/2014/main" xmlns="" id="{7A33D29C-BA99-4B01-9CA0-8B6DD79A1B0D}"/>
              </a:ext>
            </a:extLst>
          </p:cNvPr>
          <p:cNvSpPr/>
          <p:nvPr/>
        </p:nvSpPr>
        <p:spPr bwMode="auto">
          <a:xfrm>
            <a:off x="453964" y="1563600"/>
            <a:ext cx="8510524" cy="715817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</a:rPr>
              <a:t>В </a:t>
            </a:r>
            <a:r>
              <a:rPr lang="ru-RU" sz="1400" dirty="0">
                <a:solidFill>
                  <a:srgbClr val="000000"/>
                </a:solidFill>
              </a:rPr>
              <a:t>соответствии с наилучшими международными практиками рекомендуются следующие </a:t>
            </a:r>
            <a:r>
              <a:rPr lang="ru-RU" sz="1400" dirty="0" smtClean="0">
                <a:solidFill>
                  <a:srgbClr val="000000"/>
                </a:solidFill>
              </a:rPr>
              <a:t>разделы. </a:t>
            </a:r>
            <a:endParaRPr lang="ru-RU" sz="1400" dirty="0">
              <a:solidFill>
                <a:srgbClr val="000000"/>
              </a:solidFill>
              <a:highlight>
                <a:srgbClr val="FFFF00"/>
              </a:highlight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70A82022-A981-40B5-95CE-597471D8A1EC}"/>
              </a:ext>
            </a:extLst>
          </p:cNvPr>
          <p:cNvSpPr txBox="1">
            <a:spLocks/>
          </p:cNvSpPr>
          <p:nvPr/>
        </p:nvSpPr>
        <p:spPr bwMode="auto">
          <a:xfrm>
            <a:off x="496495" y="1118153"/>
            <a:ext cx="8336567" cy="427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6E645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b="1" dirty="0">
                <a:solidFill>
                  <a:srgbClr val="C00000"/>
                </a:solidFill>
              </a:rPr>
              <a:t>Содержание </a:t>
            </a:r>
            <a:r>
              <a:rPr lang="ru-RU" b="1" dirty="0" smtClean="0">
                <a:solidFill>
                  <a:srgbClr val="C00000"/>
                </a:solidFill>
              </a:rPr>
              <a:t>СНУР (предварительная)</a:t>
            </a:r>
            <a:endParaRPr lang="ru-RU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74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3fv3B7E0KKwl35N_aO0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0LH_ZSb0.M0Tm6.PDL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3fv3B7E0KKwl35N_aO0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.oL0sbmke9sg8NUBrs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JVrwdQD06IkwsLQcnd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mb0RJkLUOfemDJLJrT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GuOyFjYU.b7PsH58q5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jL6uo8DU6EBu4eHrDa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RAmJHsvUa2j3LdRNj5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strm90BEKC.u0T2pw8J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dJNguLO0ebIfPLa3x8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aZccmoxE2WrP1TqMWR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p2Fc.hmUG_QW60ouKr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0LH_ZSb0.M0Tm6.PDL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KMzzbS60WhjlpQDbjd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0I.8yyfUu4n6Xp8uaM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0qxbxv0U..YLr3YuFW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3yH5F1NkWtOfb3PLFH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.xyOLqZUKfYNmQqMoX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zQ6Su9ky8h2Pz_NUX7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TzDoIlJUm70mhewCxE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A1R3jJYUKLp2fcTQuP1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ol3800G0.ilWWt5IjFd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yTZQup3kiQI_mtACwp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4VGpQnJUC8_82KtxPU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FSNEcZk.OfB40CNtA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m3tuUP_UKzPxZWpRAw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dhyY1UsEy3gB627Kfh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T5TFW2x067cm6CE5EJ9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XO441WMEql9PCST9_o9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B5agg4cECSEO79FkmI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Fp4v5JKU6_hV_w5xEZ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h86mOMXUWgPS3n3zDo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aCifBWhUG_WrOg0tWU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MgmR.aOEmjVzUjDP.V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LuYTPjgUCjjytEwGa4U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GJrarVWEueE8clc4vQ9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PIQ8xlVESf20ktzz32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PIQ8xlVESf20ktzz32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aCifBWhUG_WrOg0tWU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ol3800G0.ilWWt5IjFd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JVrwdQD06IkwsLQcnd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4VGpQnJUC8_82KtxPUb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ol3800G0.ilWWt5IjFd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ol3800G0.ilWWt5IjFd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ol3800G0.ilWWt5IjFd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MgmR.aOEmjVzUjDP.Vt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GJrarVWEueE8clc4vQ9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MgmR.aOEmjVzUjDP.V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CQmqP3XE2UAfempwouF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24ZO3.5U6hfXE7cmPC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8EESNqkEi9vOj7jNzq0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24ZO3.5U6hfXE7cmPC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8EESNqkEi9vOj7jNzq0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24ZO3.5U6hfXE7cmPCr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8EESNqkEi9vOj7jNzq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8EESNqkEi9vOj7jNzq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24ZO3.5U6hfXE7cmPC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24ZO3.5U6hfXE7cmPCr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8EESNqkEi9vOj7jNzq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sdqoMe.U6fmCtbhHWaig"/>
</p:tagLst>
</file>

<file path=ppt/theme/theme1.xml><?xml version="1.0" encoding="utf-8"?>
<a:theme xmlns:a="http://schemas.openxmlformats.org/drawingml/2006/main" name="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4_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_Entwurf 01">
  <a:themeElements>
    <a:clrScheme name="Benutzerdefiniert 47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C80F0F"/>
      </a:accent1>
      <a:accent2>
        <a:srgbClr val="89AE10"/>
      </a:accent2>
      <a:accent3>
        <a:srgbClr val="FDC400"/>
      </a:accent3>
      <a:accent4>
        <a:srgbClr val="F8E946"/>
      </a:accent4>
      <a:accent5>
        <a:srgbClr val="0077B2"/>
      </a:accent5>
      <a:accent6>
        <a:srgbClr val="AAAAAA"/>
      </a:accent6>
      <a:hlink>
        <a:srgbClr val="C80F0F"/>
      </a:hlink>
      <a:folHlink>
        <a:srgbClr val="C80F0F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iz_Standard_PPT_Mastervorlagen_de_2019-02.pptx" id="{E2168229-ADF6-46C1-BAAF-85AFBF4DEC0F}" vid="{575B4671-E7CC-46D3-86BF-AFDB7032A8A3}"/>
    </a:ext>
  </a:extLst>
</a:theme>
</file>

<file path=ppt/theme/theme12.xml><?xml version="1.0" encoding="utf-8"?>
<a:theme xmlns:a="http://schemas.openxmlformats.org/drawingml/2006/main" name="5_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6_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ntwurf 01">
  <a:themeElements>
    <a:clrScheme name="Benutzerdefiniert 47">
      <a:dk1>
        <a:sysClr val="windowText" lastClr="000000"/>
      </a:dk1>
      <a:lt1>
        <a:sysClr val="window" lastClr="FFFFFF"/>
      </a:lt1>
      <a:dk2>
        <a:srgbClr val="6F6F6F"/>
      </a:dk2>
      <a:lt2>
        <a:srgbClr val="E6E6E6"/>
      </a:lt2>
      <a:accent1>
        <a:srgbClr val="C80F0F"/>
      </a:accent1>
      <a:accent2>
        <a:srgbClr val="89AE10"/>
      </a:accent2>
      <a:accent3>
        <a:srgbClr val="FDC400"/>
      </a:accent3>
      <a:accent4>
        <a:srgbClr val="F8E946"/>
      </a:accent4>
      <a:accent5>
        <a:srgbClr val="0077B2"/>
      </a:accent5>
      <a:accent6>
        <a:srgbClr val="AAAAAA"/>
      </a:accent6>
      <a:hlink>
        <a:srgbClr val="C80F0F"/>
      </a:hlink>
      <a:folHlink>
        <a:srgbClr val="C80F0F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iz_Standard_PPT_Mastervorlagen_de_2019-02.pptx" id="{E2168229-ADF6-46C1-BAAF-85AFBF4DEC0F}" vid="{575B4671-E7CC-46D3-86BF-AFDB7032A8A3}"/>
    </a:ext>
  </a:extLst>
</a:theme>
</file>

<file path=ppt/theme/theme3.xml><?xml version="1.0" encoding="utf-8"?>
<a:theme xmlns:a="http://schemas.openxmlformats.org/drawingml/2006/main" name="giz-powerpoint-20141103-v3">
  <a:themeElements>
    <a:clrScheme name="GIZ Farbtabelle">
      <a:dk1>
        <a:srgbClr val="000000"/>
      </a:dk1>
      <a:lt1>
        <a:srgbClr val="FFFFFF"/>
      </a:lt1>
      <a:dk2>
        <a:srgbClr val="6E6452"/>
      </a:dk2>
      <a:lt2>
        <a:srgbClr val="D2CDC8"/>
      </a:lt2>
      <a:accent1>
        <a:srgbClr val="C80F0F"/>
      </a:accent1>
      <a:accent2>
        <a:srgbClr val="D0CBC1"/>
      </a:accent2>
      <a:accent3>
        <a:srgbClr val="7C7563"/>
      </a:accent3>
      <a:accent4>
        <a:srgbClr val="660000"/>
      </a:accent4>
      <a:accent5>
        <a:srgbClr val="CC0000"/>
      </a:accent5>
      <a:accent6>
        <a:srgbClr val="B4E3ED"/>
      </a:accent6>
      <a:hlink>
        <a:srgbClr val="0000FF"/>
      </a:hlink>
      <a:folHlink>
        <a:srgbClr val="800080"/>
      </a:folHlink>
    </a:clrScheme>
    <a:fontScheme name="GIZ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4.xml><?xml version="1.0" encoding="utf-8"?>
<a:theme xmlns:a="http://schemas.openxmlformats.org/drawingml/2006/main" name="1_giz-powerpoint-20141103-v3">
  <a:themeElements>
    <a:clrScheme name="GIZ Farbtabelle">
      <a:dk1>
        <a:srgbClr val="000000"/>
      </a:dk1>
      <a:lt1>
        <a:srgbClr val="FFFFFF"/>
      </a:lt1>
      <a:dk2>
        <a:srgbClr val="6E6452"/>
      </a:dk2>
      <a:lt2>
        <a:srgbClr val="D2CDC8"/>
      </a:lt2>
      <a:accent1>
        <a:srgbClr val="C80F0F"/>
      </a:accent1>
      <a:accent2>
        <a:srgbClr val="D0CBC1"/>
      </a:accent2>
      <a:accent3>
        <a:srgbClr val="7C7563"/>
      </a:accent3>
      <a:accent4>
        <a:srgbClr val="660000"/>
      </a:accent4>
      <a:accent5>
        <a:srgbClr val="CC0000"/>
      </a:accent5>
      <a:accent6>
        <a:srgbClr val="B4E3ED"/>
      </a:accent6>
      <a:hlink>
        <a:srgbClr val="0000FF"/>
      </a:hlink>
      <a:folHlink>
        <a:srgbClr val="800080"/>
      </a:folHlink>
    </a:clrScheme>
    <a:fontScheme name="GIZ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5.xml><?xml version="1.0" encoding="utf-8"?>
<a:theme xmlns:a="http://schemas.openxmlformats.org/drawingml/2006/main" name="2_giz-powerpoint-20141103-v3">
  <a:themeElements>
    <a:clrScheme name="GIZ Farbtabelle">
      <a:dk1>
        <a:srgbClr val="000000"/>
      </a:dk1>
      <a:lt1>
        <a:srgbClr val="FFFFFF"/>
      </a:lt1>
      <a:dk2>
        <a:srgbClr val="6E6452"/>
      </a:dk2>
      <a:lt2>
        <a:srgbClr val="D2CDC8"/>
      </a:lt2>
      <a:accent1>
        <a:srgbClr val="C80F0F"/>
      </a:accent1>
      <a:accent2>
        <a:srgbClr val="D0CBC1"/>
      </a:accent2>
      <a:accent3>
        <a:srgbClr val="7C7563"/>
      </a:accent3>
      <a:accent4>
        <a:srgbClr val="660000"/>
      </a:accent4>
      <a:accent5>
        <a:srgbClr val="CC0000"/>
      </a:accent5>
      <a:accent6>
        <a:srgbClr val="B4E3ED"/>
      </a:accent6>
      <a:hlink>
        <a:srgbClr val="0000FF"/>
      </a:hlink>
      <a:folHlink>
        <a:srgbClr val="800080"/>
      </a:folHlink>
    </a:clrScheme>
    <a:fontScheme name="GIZ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6.xml><?xml version="1.0" encoding="utf-8"?>
<a:theme xmlns:a="http://schemas.openxmlformats.org/drawingml/2006/main" name="1_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giz-powerpoint-20141103-v3">
  <a:themeElements>
    <a:clrScheme name="GIZ Farbtabelle">
      <a:dk1>
        <a:srgbClr val="000000"/>
      </a:dk1>
      <a:lt1>
        <a:srgbClr val="FFFFFF"/>
      </a:lt1>
      <a:dk2>
        <a:srgbClr val="6E6452"/>
      </a:dk2>
      <a:lt2>
        <a:srgbClr val="D2CDC8"/>
      </a:lt2>
      <a:accent1>
        <a:srgbClr val="C80F0F"/>
      </a:accent1>
      <a:accent2>
        <a:srgbClr val="D0CBC1"/>
      </a:accent2>
      <a:accent3>
        <a:srgbClr val="7C7563"/>
      </a:accent3>
      <a:accent4>
        <a:srgbClr val="660000"/>
      </a:accent4>
      <a:accent5>
        <a:srgbClr val="CC0000"/>
      </a:accent5>
      <a:accent6>
        <a:srgbClr val="B4E3ED"/>
      </a:accent6>
      <a:hlink>
        <a:srgbClr val="0000FF"/>
      </a:hlink>
      <a:folHlink>
        <a:srgbClr val="800080"/>
      </a:folHlink>
    </a:clrScheme>
    <a:fontScheme name="GIZ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8.xml><?xml version="1.0" encoding="utf-8"?>
<a:theme xmlns:a="http://schemas.openxmlformats.org/drawingml/2006/main" name="4_giz-powerpoint-20141103-v3">
  <a:themeElements>
    <a:clrScheme name="GIZ Farbtabelle">
      <a:dk1>
        <a:srgbClr val="000000"/>
      </a:dk1>
      <a:lt1>
        <a:srgbClr val="FFFFFF"/>
      </a:lt1>
      <a:dk2>
        <a:srgbClr val="6E6452"/>
      </a:dk2>
      <a:lt2>
        <a:srgbClr val="D2CDC8"/>
      </a:lt2>
      <a:accent1>
        <a:srgbClr val="C80F0F"/>
      </a:accent1>
      <a:accent2>
        <a:srgbClr val="D0CBC1"/>
      </a:accent2>
      <a:accent3>
        <a:srgbClr val="7C7563"/>
      </a:accent3>
      <a:accent4>
        <a:srgbClr val="660000"/>
      </a:accent4>
      <a:accent5>
        <a:srgbClr val="CC0000"/>
      </a:accent5>
      <a:accent6>
        <a:srgbClr val="B4E3ED"/>
      </a:accent6>
      <a:hlink>
        <a:srgbClr val="0000FF"/>
      </a:hlink>
      <a:folHlink>
        <a:srgbClr val="800080"/>
      </a:folHlink>
    </a:clrScheme>
    <a:fontScheme name="GIZ Schrif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TZ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200" b="1" i="0" u="none" strike="noStrike" cap="none" normalizeH="0" baseline="0" smtClean="0">
            <a:ln>
              <a:noFill/>
            </a:ln>
            <a:solidFill>
              <a:srgbClr val="999999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9.xml><?xml version="1.0" encoding="utf-8"?>
<a:theme xmlns:a="http://schemas.openxmlformats.org/drawingml/2006/main" name="3_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60</TotalTime>
  <Words>6895</Words>
  <Application>Microsoft Office PowerPoint</Application>
  <PresentationFormat>Экран (4:3)</PresentationFormat>
  <Paragraphs>526</Paragraphs>
  <Slides>44</Slides>
  <Notes>2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4</vt:i4>
      </vt:variant>
      <vt:variant>
        <vt:lpstr>Заголовки слайдов</vt:lpstr>
      </vt:variant>
      <vt:variant>
        <vt:i4>44</vt:i4>
      </vt:variant>
    </vt:vector>
  </HeadingPairs>
  <TitlesOfParts>
    <vt:vector size="65" baseType="lpstr">
      <vt:lpstr>Gulim</vt:lpstr>
      <vt:lpstr>Arial</vt:lpstr>
      <vt:lpstr>Arial Narrow</vt:lpstr>
      <vt:lpstr>Calibri</vt:lpstr>
      <vt:lpstr>Symbol</vt:lpstr>
      <vt:lpstr>Times New Roman</vt:lpstr>
      <vt:lpstr>Wingdings</vt:lpstr>
      <vt:lpstr>Тема Office</vt:lpstr>
      <vt:lpstr>Entwurf 01</vt:lpstr>
      <vt:lpstr>giz-powerpoint-20141103-v3</vt:lpstr>
      <vt:lpstr>1_giz-powerpoint-20141103-v3</vt:lpstr>
      <vt:lpstr>2_giz-powerpoint-20141103-v3</vt:lpstr>
      <vt:lpstr>1_Тема Office</vt:lpstr>
      <vt:lpstr>3_giz-powerpoint-20141103-v3</vt:lpstr>
      <vt:lpstr>4_giz-powerpoint-20141103-v3</vt:lpstr>
      <vt:lpstr>3_Тема Office</vt:lpstr>
      <vt:lpstr>4_Тема Office</vt:lpstr>
      <vt:lpstr>1_Entwurf 01</vt:lpstr>
      <vt:lpstr>5_Тема Office</vt:lpstr>
      <vt:lpstr>6_Тема Office</vt:lpstr>
      <vt:lpstr>8_Тема Office</vt:lpstr>
      <vt:lpstr>Информация подготовлена АО «Жасыл даму»  для всех заинтересованных сторон в Казахстане по состоянию на 22 апреля 2020 года, г. Нур-Султан  О текущем состоянии разработки СНУР в Казахстане</vt:lpstr>
      <vt:lpstr>О сути проекта</vt:lpstr>
      <vt:lpstr>О проекте, в рамках которого разрабатывается СНУР</vt:lpstr>
      <vt:lpstr>Текущее состояние ПРОЕКТА: Что сделано?  Что делается?  </vt:lpstr>
      <vt:lpstr>Презентация PowerPoint</vt:lpstr>
      <vt:lpstr>Что получит Казахстан от проекта в конечном итоге?</vt:lpstr>
      <vt:lpstr>Ожидаемые долгосрочные эффекты от реализации проекта  (польза для Казахстана)</vt:lpstr>
      <vt:lpstr>Что будет представлять собой СНУР в конце года?</vt:lpstr>
      <vt:lpstr>Презентация PowerPoint</vt:lpstr>
      <vt:lpstr>что даст РАЗРАБОТКА СНУР республике?</vt:lpstr>
      <vt:lpstr>Презентация PowerPoint</vt:lpstr>
      <vt:lpstr>Глубокий эмпирический анализ сценариев низкоуглеродного развития Казахстана даст ответы на нижеследующие вопросы, без которых  Правительству сложно сделать ответственный выбор политик и темпов декарбонизации национальной экономики:</vt:lpstr>
      <vt:lpstr>Презентация PowerPoint</vt:lpstr>
      <vt:lpstr>Зачем страны разрабатывают СНУР? </vt:lpstr>
      <vt:lpstr>Международные основы для разработки СНУР </vt:lpstr>
      <vt:lpstr>Наилучшие международные практики учитываются при разработке СНУР  </vt:lpstr>
      <vt:lpstr>Для чего нужны консультации со стейкхолдерами?</vt:lpstr>
      <vt:lpstr>Презентация PowerPoint</vt:lpstr>
      <vt:lpstr>Презентация PowerPoint</vt:lpstr>
      <vt:lpstr>руководитель проекта giz йоханнес шуманн   о целях и результатах консультационных совещаний со стейкхолдерами</vt:lpstr>
      <vt:lpstr>Презентация PowerPoint</vt:lpstr>
      <vt:lpstr>Agriculture</vt:lpstr>
      <vt:lpstr>Buildings</vt:lpstr>
      <vt:lpstr>Coal</vt:lpstr>
      <vt:lpstr>Transport</vt:lpstr>
      <vt:lpstr>Для чего нужен Dashboard?</vt:lpstr>
      <vt:lpstr>Презентация PowerPoint</vt:lpstr>
      <vt:lpstr>Дизайн Dashboard будет выглядеть примерно так</vt:lpstr>
      <vt:lpstr>9 KPI для Dashboard уже отобраны</vt:lpstr>
      <vt:lpstr> СЦЕНАРИИ ПЕРЕХОДА К НУР</vt:lpstr>
      <vt:lpstr>Меняются критерии инвестиционной привлекательности Казахстана</vt:lpstr>
      <vt:lpstr>Сценарии развития, предлагаемые для разработки СНУР</vt:lpstr>
      <vt:lpstr>Допущения (предположения) для сценариев развития международной климатической политики</vt:lpstr>
      <vt:lpstr>Допущения (предположения) для сценариев развития внутренней политики Казахстана по повышению энергоэффективности и снижению выбросов ПГ</vt:lpstr>
      <vt:lpstr> Отраслевые политики и меры  </vt:lpstr>
      <vt:lpstr>Основным критерием отбора всех политик и мер в СНУР является ОБЕСПЕЧЕНИЕ ЭФФЕКТИВНОГО ИСПОЛЬЗОВАНИЯ ЭНЕРГИИ И РЕСУРСОВ («технический принцип»)</vt:lpstr>
      <vt:lpstr>«Энергетическая деятельность»: отрасли, сжигающие топливо</vt:lpstr>
      <vt:lpstr>Ориентиры развития сектора электро- и теплоснабжения в зависимости от сценария внутренней политики (подлежит пересмотру и проверке)</vt:lpstr>
      <vt:lpstr>Ориентиры развития сектора зданий в зависимости от мер внутренней политики (подлежит пересмотру и проверке)</vt:lpstr>
      <vt:lpstr>Ориентиры развития транспортного сектора в зависимости от мер внутренней политики (подлежит пересмотру и проверке)</vt:lpstr>
      <vt:lpstr>Ориентиры успешности перехода обрабатывающей промышленности к низкоуглеродному развитию в зависимости от мер внутренней политики (подлежит пересмотру и проверке)</vt:lpstr>
      <vt:lpstr>Как выбираются сектора для моделирования?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кущее состояние разработки СНУР</dc:title>
  <dc:creator>Gulmira Ismagulova</dc:creator>
  <cp:lastModifiedBy>Гулсара</cp:lastModifiedBy>
  <cp:revision>398</cp:revision>
  <dcterms:created xsi:type="dcterms:W3CDTF">2020-04-13T18:31:24Z</dcterms:created>
  <dcterms:modified xsi:type="dcterms:W3CDTF">2020-04-23T04:37:29Z</dcterms:modified>
</cp:coreProperties>
</file>